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39"/>
  </p:notesMasterIdLst>
  <p:sldIdLst>
    <p:sldId id="1722" r:id="rId4"/>
    <p:sldId id="4642" r:id="rId5"/>
    <p:sldId id="1731" r:id="rId6"/>
    <p:sldId id="1635" r:id="rId7"/>
    <p:sldId id="2260" r:id="rId8"/>
    <p:sldId id="4919" r:id="rId9"/>
    <p:sldId id="2244" r:id="rId10"/>
    <p:sldId id="4630" r:id="rId11"/>
    <p:sldId id="4631" r:id="rId12"/>
    <p:sldId id="1726" r:id="rId13"/>
    <p:sldId id="4627" r:id="rId14"/>
    <p:sldId id="1728" r:id="rId15"/>
    <p:sldId id="4920" r:id="rId16"/>
    <p:sldId id="4921" r:id="rId17"/>
    <p:sldId id="2265" r:id="rId18"/>
    <p:sldId id="2263" r:id="rId19"/>
    <p:sldId id="4671" r:id="rId20"/>
    <p:sldId id="2272" r:id="rId21"/>
    <p:sldId id="2274" r:id="rId22"/>
    <p:sldId id="2276" r:id="rId23"/>
    <p:sldId id="4643" r:id="rId24"/>
    <p:sldId id="4922" r:id="rId25"/>
    <p:sldId id="4923" r:id="rId26"/>
    <p:sldId id="4681" r:id="rId27"/>
    <p:sldId id="4682" r:id="rId28"/>
    <p:sldId id="4683" r:id="rId29"/>
    <p:sldId id="4684" r:id="rId30"/>
    <p:sldId id="4685" r:id="rId31"/>
    <p:sldId id="4686" r:id="rId32"/>
    <p:sldId id="4687" r:id="rId33"/>
    <p:sldId id="1171" r:id="rId34"/>
    <p:sldId id="1483" r:id="rId35"/>
    <p:sldId id="4589" r:id="rId36"/>
    <p:sldId id="1480" r:id="rId37"/>
    <p:sldId id="4821" r:id="rId38"/>
  </p:sldIdLst>
  <p:sldSz cx="12192000" cy="6858000"/>
  <p:notesSz cx="6858000" cy="9144000"/>
  <p:embeddedFontLst>
    <p:embeddedFont>
      <p:font typeface="Calibri" panose="020F0502020204030204" pitchFamily="34" charset="0"/>
      <p:regular r:id="rId40"/>
      <p:bold r:id="rId41"/>
      <p:italic r:id="rId42"/>
      <p:boldItalic r:id="rId43"/>
    </p:embeddedFont>
    <p:embeddedFont>
      <p:font typeface="Calibri Light" panose="020F0302020204030204" pitchFamily="34" charset="0"/>
      <p:regular r:id="rId44"/>
      <p:italic r:id="rId45"/>
    </p:embeddedFont>
  </p:embeddedFontLst>
  <p:custDataLst>
    <p:tags r:id="rId4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66" d="100"/>
          <a:sy n="66" d="100"/>
        </p:scale>
        <p:origin x="930" y="66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1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font" Target="fonts/font3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font" Target="fonts/font1.fntdata"/><Relationship Id="rId45" Type="http://schemas.openxmlformats.org/officeDocument/2006/relationships/font" Target="fonts/font6.fntdata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font" Target="fonts/font5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font" Target="fonts/font4.fntdata"/><Relationship Id="rId48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gs" Target="tags/tag1.xml"/><Relationship Id="rId20" Type="http://schemas.openxmlformats.org/officeDocument/2006/relationships/slide" Target="slides/slide17.xml"/><Relationship Id="rId41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I$1:$QO$1</c:f>
              <c:strCache>
                <c:ptCount val="449"/>
                <c:pt idx="0">
                  <c:v>27.XII.20</c:v>
                </c:pt>
                <c:pt idx="1">
                  <c:v>28.XII.20</c:v>
                </c:pt>
                <c:pt idx="2">
                  <c:v>29.XII.20</c:v>
                </c:pt>
                <c:pt idx="3">
                  <c:v>30.XII.20</c:v>
                </c:pt>
                <c:pt idx="4">
                  <c:v>31.XII.20</c:v>
                </c:pt>
                <c:pt idx="5">
                  <c:v>1.I.21</c:v>
                </c:pt>
                <c:pt idx="6">
                  <c:v>2.I.21</c:v>
                </c:pt>
                <c:pt idx="7">
                  <c:v>3.I.21</c:v>
                </c:pt>
                <c:pt idx="8">
                  <c:v>4.I.21</c:v>
                </c:pt>
                <c:pt idx="9">
                  <c:v>5.I.21</c:v>
                </c:pt>
                <c:pt idx="10">
                  <c:v>6.I.21</c:v>
                </c:pt>
                <c:pt idx="11">
                  <c:v>7.I.21</c:v>
                </c:pt>
                <c:pt idx="12">
                  <c:v>8.I.21</c:v>
                </c:pt>
                <c:pt idx="13">
                  <c:v>9.I.21</c:v>
                </c:pt>
                <c:pt idx="14">
                  <c:v>10.I.21</c:v>
                </c:pt>
                <c:pt idx="15">
                  <c:v>11.I.21</c:v>
                </c:pt>
                <c:pt idx="16">
                  <c:v>12.I.21</c:v>
                </c:pt>
                <c:pt idx="17">
                  <c:v>13.I.21</c:v>
                </c:pt>
                <c:pt idx="18">
                  <c:v>14.I.21</c:v>
                </c:pt>
                <c:pt idx="19">
                  <c:v>15.I.21</c:v>
                </c:pt>
                <c:pt idx="20">
                  <c:v>16.I.21</c:v>
                </c:pt>
                <c:pt idx="21">
                  <c:v>17.I.21</c:v>
                </c:pt>
                <c:pt idx="22">
                  <c:v>18.I.21</c:v>
                </c:pt>
                <c:pt idx="23">
                  <c:v>19.I.21</c:v>
                </c:pt>
                <c:pt idx="24">
                  <c:v>20.I.21</c:v>
                </c:pt>
                <c:pt idx="25">
                  <c:v>21.I.21</c:v>
                </c:pt>
                <c:pt idx="26">
                  <c:v>22.I.21</c:v>
                </c:pt>
                <c:pt idx="27">
                  <c:v>23.I.21</c:v>
                </c:pt>
                <c:pt idx="28">
                  <c:v>24.I.21</c:v>
                </c:pt>
                <c:pt idx="29">
                  <c:v>25.I.21</c:v>
                </c:pt>
                <c:pt idx="30">
                  <c:v>26.I.21</c:v>
                </c:pt>
                <c:pt idx="31">
                  <c:v>27.I.21</c:v>
                </c:pt>
                <c:pt idx="32">
                  <c:v>28.I.21</c:v>
                </c:pt>
                <c:pt idx="33">
                  <c:v>29.I.21</c:v>
                </c:pt>
                <c:pt idx="34">
                  <c:v>30.I.21</c:v>
                </c:pt>
                <c:pt idx="35">
                  <c:v>31.I.21</c:v>
                </c:pt>
                <c:pt idx="36">
                  <c:v>1.II.21</c:v>
                </c:pt>
                <c:pt idx="37">
                  <c:v>2.II.21</c:v>
                </c:pt>
                <c:pt idx="38">
                  <c:v>3.II.21</c:v>
                </c:pt>
                <c:pt idx="39">
                  <c:v>4.II.21</c:v>
                </c:pt>
                <c:pt idx="40">
                  <c:v>5.II.21</c:v>
                </c:pt>
                <c:pt idx="41">
                  <c:v>6.II.21</c:v>
                </c:pt>
                <c:pt idx="42">
                  <c:v>7.II.21</c:v>
                </c:pt>
                <c:pt idx="43">
                  <c:v>8.II.21</c:v>
                </c:pt>
                <c:pt idx="44">
                  <c:v>9.II.21</c:v>
                </c:pt>
                <c:pt idx="45">
                  <c:v>10.II.21</c:v>
                </c:pt>
                <c:pt idx="46">
                  <c:v>11.II.21</c:v>
                </c:pt>
                <c:pt idx="47">
                  <c:v>12.II.21</c:v>
                </c:pt>
                <c:pt idx="48">
                  <c:v>13.II.21</c:v>
                </c:pt>
                <c:pt idx="49">
                  <c:v>14.II.21</c:v>
                </c:pt>
                <c:pt idx="50">
                  <c:v>15.II.21</c:v>
                </c:pt>
                <c:pt idx="51">
                  <c:v>16.II.21</c:v>
                </c:pt>
                <c:pt idx="52">
                  <c:v>17.II.21</c:v>
                </c:pt>
                <c:pt idx="53">
                  <c:v>18.II.21</c:v>
                </c:pt>
                <c:pt idx="54">
                  <c:v>19.II.21</c:v>
                </c:pt>
                <c:pt idx="55">
                  <c:v>20.II.21</c:v>
                </c:pt>
                <c:pt idx="56">
                  <c:v>21.II.21</c:v>
                </c:pt>
                <c:pt idx="57">
                  <c:v>22.II.21</c:v>
                </c:pt>
                <c:pt idx="58">
                  <c:v>23.II.21</c:v>
                </c:pt>
                <c:pt idx="59">
                  <c:v>24.II.21</c:v>
                </c:pt>
                <c:pt idx="60">
                  <c:v>25.II.21</c:v>
                </c:pt>
                <c:pt idx="61">
                  <c:v>26.II.21</c:v>
                </c:pt>
                <c:pt idx="62">
                  <c:v>27.II.21</c:v>
                </c:pt>
                <c:pt idx="63">
                  <c:v>28.II.21</c:v>
                </c:pt>
                <c:pt idx="64">
                  <c:v>1.III.21</c:v>
                </c:pt>
                <c:pt idx="65">
                  <c:v>2.III.21</c:v>
                </c:pt>
                <c:pt idx="66">
                  <c:v>3.III.21</c:v>
                </c:pt>
                <c:pt idx="67">
                  <c:v>4.III.21</c:v>
                </c:pt>
                <c:pt idx="68">
                  <c:v>5.III.21</c:v>
                </c:pt>
                <c:pt idx="69">
                  <c:v>6.III.21</c:v>
                </c:pt>
                <c:pt idx="70">
                  <c:v>7.III.21</c:v>
                </c:pt>
                <c:pt idx="71">
                  <c:v>8.III.21</c:v>
                </c:pt>
                <c:pt idx="72">
                  <c:v>9.III.21</c:v>
                </c:pt>
                <c:pt idx="73">
                  <c:v>10.III.21</c:v>
                </c:pt>
                <c:pt idx="74">
                  <c:v>11.III.21</c:v>
                </c:pt>
                <c:pt idx="75">
                  <c:v>12.III.21</c:v>
                </c:pt>
                <c:pt idx="76">
                  <c:v>13.III.21</c:v>
                </c:pt>
                <c:pt idx="77">
                  <c:v>14.III.21</c:v>
                </c:pt>
                <c:pt idx="78">
                  <c:v>15.III.21</c:v>
                </c:pt>
                <c:pt idx="79">
                  <c:v>16.III.21</c:v>
                </c:pt>
                <c:pt idx="80">
                  <c:v>17.III.21</c:v>
                </c:pt>
                <c:pt idx="81">
                  <c:v>18.III.21</c:v>
                </c:pt>
                <c:pt idx="82">
                  <c:v>19.III.21</c:v>
                </c:pt>
                <c:pt idx="83">
                  <c:v>20.III.21</c:v>
                </c:pt>
                <c:pt idx="84">
                  <c:v>21.III.21</c:v>
                </c:pt>
                <c:pt idx="85">
                  <c:v>22.III.21</c:v>
                </c:pt>
                <c:pt idx="86">
                  <c:v>23.III.21</c:v>
                </c:pt>
                <c:pt idx="87">
                  <c:v>24.III.21</c:v>
                </c:pt>
                <c:pt idx="88">
                  <c:v>25.III.21</c:v>
                </c:pt>
                <c:pt idx="89">
                  <c:v>26.III.21</c:v>
                </c:pt>
                <c:pt idx="90">
                  <c:v>27.III.21</c:v>
                </c:pt>
                <c:pt idx="91">
                  <c:v>28.III.21</c:v>
                </c:pt>
                <c:pt idx="92">
                  <c:v>29.III.21</c:v>
                </c:pt>
                <c:pt idx="93">
                  <c:v>30.III.21</c:v>
                </c:pt>
                <c:pt idx="94">
                  <c:v>31.III.21</c:v>
                </c:pt>
                <c:pt idx="95">
                  <c:v>1.IV.21</c:v>
                </c:pt>
                <c:pt idx="96">
                  <c:v>2.IV.21</c:v>
                </c:pt>
                <c:pt idx="97">
                  <c:v>3.IV.21</c:v>
                </c:pt>
                <c:pt idx="98">
                  <c:v>4.IV.21</c:v>
                </c:pt>
                <c:pt idx="99">
                  <c:v>5.IV.21</c:v>
                </c:pt>
                <c:pt idx="100">
                  <c:v>6.IV.21</c:v>
                </c:pt>
                <c:pt idx="101">
                  <c:v>7.IV.21</c:v>
                </c:pt>
                <c:pt idx="102">
                  <c:v>8.IV.21</c:v>
                </c:pt>
                <c:pt idx="103">
                  <c:v>9.IV.21</c:v>
                </c:pt>
                <c:pt idx="104">
                  <c:v>10.IV.21</c:v>
                </c:pt>
                <c:pt idx="105">
                  <c:v>11.IV.21</c:v>
                </c:pt>
                <c:pt idx="106">
                  <c:v>12.IV.21</c:v>
                </c:pt>
                <c:pt idx="107">
                  <c:v>13.IV.21</c:v>
                </c:pt>
                <c:pt idx="108">
                  <c:v>14.IV.21</c:v>
                </c:pt>
                <c:pt idx="109">
                  <c:v>15.IV.21</c:v>
                </c:pt>
                <c:pt idx="110">
                  <c:v>16.IV.21</c:v>
                </c:pt>
                <c:pt idx="111">
                  <c:v>17.IV.21</c:v>
                </c:pt>
                <c:pt idx="112">
                  <c:v>18.IV.21</c:v>
                </c:pt>
                <c:pt idx="113">
                  <c:v>19.IV.21</c:v>
                </c:pt>
                <c:pt idx="114">
                  <c:v>20.IV.21</c:v>
                </c:pt>
                <c:pt idx="115">
                  <c:v>21.IV.21</c:v>
                </c:pt>
                <c:pt idx="116">
                  <c:v>22.IV.21</c:v>
                </c:pt>
                <c:pt idx="117">
                  <c:v>23.IV.21</c:v>
                </c:pt>
                <c:pt idx="118">
                  <c:v>24.IV.21</c:v>
                </c:pt>
                <c:pt idx="119">
                  <c:v>25.IV.21</c:v>
                </c:pt>
                <c:pt idx="120">
                  <c:v>26.IV.21</c:v>
                </c:pt>
                <c:pt idx="121">
                  <c:v>27.IV.21</c:v>
                </c:pt>
                <c:pt idx="122">
                  <c:v>28.IV.21</c:v>
                </c:pt>
                <c:pt idx="123">
                  <c:v>29.IV.21</c:v>
                </c:pt>
                <c:pt idx="124">
                  <c:v>30.IV.21</c:v>
                </c:pt>
                <c:pt idx="125">
                  <c:v>1.V.21</c:v>
                </c:pt>
                <c:pt idx="126">
                  <c:v>2.V.21</c:v>
                </c:pt>
                <c:pt idx="127">
                  <c:v>3.V.21</c:v>
                </c:pt>
                <c:pt idx="128">
                  <c:v>4.V.21</c:v>
                </c:pt>
                <c:pt idx="129">
                  <c:v>5.V.21</c:v>
                </c:pt>
                <c:pt idx="130">
                  <c:v>6.V.21</c:v>
                </c:pt>
                <c:pt idx="131">
                  <c:v>7.V.21</c:v>
                </c:pt>
                <c:pt idx="132">
                  <c:v>8.V.21</c:v>
                </c:pt>
                <c:pt idx="133">
                  <c:v>9.V.21</c:v>
                </c:pt>
                <c:pt idx="134">
                  <c:v>10.V.21</c:v>
                </c:pt>
                <c:pt idx="135">
                  <c:v>11.V.21</c:v>
                </c:pt>
                <c:pt idx="136">
                  <c:v>12.V.21</c:v>
                </c:pt>
                <c:pt idx="137">
                  <c:v>13.V.21</c:v>
                </c:pt>
                <c:pt idx="138">
                  <c:v>14.V.21</c:v>
                </c:pt>
                <c:pt idx="139">
                  <c:v>15.V.21</c:v>
                </c:pt>
                <c:pt idx="140">
                  <c:v>16.V.21</c:v>
                </c:pt>
                <c:pt idx="141">
                  <c:v>17.V.21</c:v>
                </c:pt>
                <c:pt idx="142">
                  <c:v>18.V.21</c:v>
                </c:pt>
                <c:pt idx="143">
                  <c:v>19.V.21</c:v>
                </c:pt>
                <c:pt idx="144">
                  <c:v>20.V.21</c:v>
                </c:pt>
                <c:pt idx="145">
                  <c:v>21.V.21</c:v>
                </c:pt>
                <c:pt idx="146">
                  <c:v>22.V.21</c:v>
                </c:pt>
                <c:pt idx="147">
                  <c:v>23.V.21</c:v>
                </c:pt>
                <c:pt idx="148">
                  <c:v>24.V.21</c:v>
                </c:pt>
                <c:pt idx="149">
                  <c:v>25.V.21</c:v>
                </c:pt>
                <c:pt idx="150">
                  <c:v>26.V.21</c:v>
                </c:pt>
                <c:pt idx="151">
                  <c:v>27.V.21</c:v>
                </c:pt>
                <c:pt idx="152">
                  <c:v>28.V.21</c:v>
                </c:pt>
                <c:pt idx="153">
                  <c:v>29.V.21</c:v>
                </c:pt>
                <c:pt idx="154">
                  <c:v>30.V.21</c:v>
                </c:pt>
                <c:pt idx="155">
                  <c:v>31.V.21</c:v>
                </c:pt>
                <c:pt idx="156">
                  <c:v>1.VI.21</c:v>
                </c:pt>
                <c:pt idx="157">
                  <c:v>2.VI.21</c:v>
                </c:pt>
                <c:pt idx="158">
                  <c:v>3.VI.21</c:v>
                </c:pt>
                <c:pt idx="159">
                  <c:v>4.VI.21</c:v>
                </c:pt>
                <c:pt idx="160">
                  <c:v>5.VI.21</c:v>
                </c:pt>
                <c:pt idx="161">
                  <c:v>6.VI.21</c:v>
                </c:pt>
                <c:pt idx="162">
                  <c:v>7.VI.21</c:v>
                </c:pt>
                <c:pt idx="163">
                  <c:v>8.VI.21</c:v>
                </c:pt>
                <c:pt idx="164">
                  <c:v>9.VI.21</c:v>
                </c:pt>
                <c:pt idx="165">
                  <c:v>10.VI.21</c:v>
                </c:pt>
                <c:pt idx="166">
                  <c:v>11.VI.21</c:v>
                </c:pt>
                <c:pt idx="167">
                  <c:v>12.VI.21</c:v>
                </c:pt>
                <c:pt idx="168">
                  <c:v>13.VI.21</c:v>
                </c:pt>
                <c:pt idx="169">
                  <c:v>14.VI.21</c:v>
                </c:pt>
                <c:pt idx="170">
                  <c:v>15.VI.21</c:v>
                </c:pt>
                <c:pt idx="171">
                  <c:v>16.VI.21</c:v>
                </c:pt>
                <c:pt idx="172">
                  <c:v>17.VI.21</c:v>
                </c:pt>
                <c:pt idx="173">
                  <c:v>18.VI.21</c:v>
                </c:pt>
                <c:pt idx="174">
                  <c:v>19.VI.21</c:v>
                </c:pt>
                <c:pt idx="175">
                  <c:v>20.VI.21</c:v>
                </c:pt>
                <c:pt idx="176">
                  <c:v>21.VI.21</c:v>
                </c:pt>
                <c:pt idx="177">
                  <c:v>22.VI.21</c:v>
                </c:pt>
                <c:pt idx="178">
                  <c:v>23.VI.21</c:v>
                </c:pt>
                <c:pt idx="179">
                  <c:v>24.VI.21</c:v>
                </c:pt>
                <c:pt idx="180">
                  <c:v>25.VI.21</c:v>
                </c:pt>
                <c:pt idx="181">
                  <c:v>26.VI.21</c:v>
                </c:pt>
                <c:pt idx="182">
                  <c:v>27.VI.21</c:v>
                </c:pt>
                <c:pt idx="183">
                  <c:v>28.VI.21</c:v>
                </c:pt>
                <c:pt idx="184">
                  <c:v>29.VI.21</c:v>
                </c:pt>
                <c:pt idx="185">
                  <c:v>30.VI.21</c:v>
                </c:pt>
                <c:pt idx="186">
                  <c:v>1.VII.21</c:v>
                </c:pt>
                <c:pt idx="187">
                  <c:v>2.VII.21</c:v>
                </c:pt>
                <c:pt idx="188">
                  <c:v>3.VII.21</c:v>
                </c:pt>
                <c:pt idx="189">
                  <c:v>4.VII.21</c:v>
                </c:pt>
                <c:pt idx="190">
                  <c:v>5.VII.21</c:v>
                </c:pt>
                <c:pt idx="191">
                  <c:v>6.VII.21</c:v>
                </c:pt>
                <c:pt idx="192">
                  <c:v>7.VII.21</c:v>
                </c:pt>
                <c:pt idx="193">
                  <c:v>8.VII.21</c:v>
                </c:pt>
                <c:pt idx="194">
                  <c:v>9.VII.21</c:v>
                </c:pt>
                <c:pt idx="195">
                  <c:v>10.VII.21</c:v>
                </c:pt>
                <c:pt idx="196">
                  <c:v>11.VII.21</c:v>
                </c:pt>
                <c:pt idx="197">
                  <c:v>12.VII.21</c:v>
                </c:pt>
                <c:pt idx="198">
                  <c:v>13.VII.21</c:v>
                </c:pt>
                <c:pt idx="199">
                  <c:v>14.VII.21</c:v>
                </c:pt>
                <c:pt idx="200">
                  <c:v>15.VII.21</c:v>
                </c:pt>
                <c:pt idx="201">
                  <c:v>16.VII.21</c:v>
                </c:pt>
                <c:pt idx="202">
                  <c:v>17.VII.21</c:v>
                </c:pt>
                <c:pt idx="203">
                  <c:v>18.VII.21</c:v>
                </c:pt>
                <c:pt idx="204">
                  <c:v>19.VII.21</c:v>
                </c:pt>
                <c:pt idx="205">
                  <c:v>20.VII.21</c:v>
                </c:pt>
                <c:pt idx="206">
                  <c:v>21.VII.21</c:v>
                </c:pt>
                <c:pt idx="207">
                  <c:v>22.VII.21</c:v>
                </c:pt>
                <c:pt idx="208">
                  <c:v>23.VII.21</c:v>
                </c:pt>
                <c:pt idx="209">
                  <c:v>24.VII.21</c:v>
                </c:pt>
                <c:pt idx="210">
                  <c:v>25.VII.21</c:v>
                </c:pt>
                <c:pt idx="211">
                  <c:v>26.VII.21</c:v>
                </c:pt>
                <c:pt idx="212">
                  <c:v>27.VII.21</c:v>
                </c:pt>
                <c:pt idx="213">
                  <c:v>28.VII.21</c:v>
                </c:pt>
                <c:pt idx="214">
                  <c:v>29.VII.21</c:v>
                </c:pt>
                <c:pt idx="215">
                  <c:v>30.VII.21</c:v>
                </c:pt>
                <c:pt idx="216">
                  <c:v>31.VII.21</c:v>
                </c:pt>
                <c:pt idx="217">
                  <c:v>1.VIII.21</c:v>
                </c:pt>
                <c:pt idx="218">
                  <c:v>2.VIII.21</c:v>
                </c:pt>
                <c:pt idx="219">
                  <c:v>3.VIII.21</c:v>
                </c:pt>
                <c:pt idx="220">
                  <c:v>4.VIII.21</c:v>
                </c:pt>
                <c:pt idx="221">
                  <c:v>5.VIII.21</c:v>
                </c:pt>
                <c:pt idx="222">
                  <c:v>6.VIII.21</c:v>
                </c:pt>
                <c:pt idx="223">
                  <c:v>7.VIII.21</c:v>
                </c:pt>
                <c:pt idx="224">
                  <c:v>8.VIII.21</c:v>
                </c:pt>
                <c:pt idx="225">
                  <c:v>9.VIII.21</c:v>
                </c:pt>
                <c:pt idx="226">
                  <c:v>10.VIII.21</c:v>
                </c:pt>
                <c:pt idx="227">
                  <c:v>11.VIII.21</c:v>
                </c:pt>
                <c:pt idx="228">
                  <c:v>12.VIII.21</c:v>
                </c:pt>
                <c:pt idx="229">
                  <c:v>13.VIII.21</c:v>
                </c:pt>
                <c:pt idx="230">
                  <c:v>14.VIII.21</c:v>
                </c:pt>
                <c:pt idx="231">
                  <c:v>15.VIII.21</c:v>
                </c:pt>
                <c:pt idx="232">
                  <c:v>16.VIII.21</c:v>
                </c:pt>
                <c:pt idx="233">
                  <c:v>17.VIII.21</c:v>
                </c:pt>
                <c:pt idx="234">
                  <c:v>18.VIII.21</c:v>
                </c:pt>
                <c:pt idx="235">
                  <c:v>19.VIII.21</c:v>
                </c:pt>
                <c:pt idx="236">
                  <c:v>20.VIII.21</c:v>
                </c:pt>
                <c:pt idx="237">
                  <c:v>21.VIII.21</c:v>
                </c:pt>
                <c:pt idx="238">
                  <c:v>22.VIII.21</c:v>
                </c:pt>
                <c:pt idx="239">
                  <c:v>23.VIII.21</c:v>
                </c:pt>
                <c:pt idx="240">
                  <c:v>24.VIII.21</c:v>
                </c:pt>
                <c:pt idx="241">
                  <c:v>25.VIII.21</c:v>
                </c:pt>
                <c:pt idx="242">
                  <c:v>26.VIII.21</c:v>
                </c:pt>
                <c:pt idx="243">
                  <c:v>27.VIII.21</c:v>
                </c:pt>
                <c:pt idx="244">
                  <c:v>28.VIII.21</c:v>
                </c:pt>
                <c:pt idx="245">
                  <c:v>29.VIII.21</c:v>
                </c:pt>
                <c:pt idx="246">
                  <c:v>30.VIII.21</c:v>
                </c:pt>
                <c:pt idx="247">
                  <c:v>31.VIII.21</c:v>
                </c:pt>
                <c:pt idx="248">
                  <c:v>1.IX.21</c:v>
                </c:pt>
                <c:pt idx="249">
                  <c:v>2.IX.21</c:v>
                </c:pt>
                <c:pt idx="250">
                  <c:v>3.IX.21</c:v>
                </c:pt>
                <c:pt idx="251">
                  <c:v>4.IX.21</c:v>
                </c:pt>
                <c:pt idx="252">
                  <c:v>5.IX.21</c:v>
                </c:pt>
                <c:pt idx="253">
                  <c:v>6.IX.21</c:v>
                </c:pt>
                <c:pt idx="254">
                  <c:v>7.IX.21</c:v>
                </c:pt>
                <c:pt idx="255">
                  <c:v>8.IX.21</c:v>
                </c:pt>
                <c:pt idx="256">
                  <c:v>9.IX.21</c:v>
                </c:pt>
                <c:pt idx="257">
                  <c:v>10.IX.21</c:v>
                </c:pt>
                <c:pt idx="258">
                  <c:v>11.IX.21</c:v>
                </c:pt>
                <c:pt idx="259">
                  <c:v>12.IX.21</c:v>
                </c:pt>
                <c:pt idx="260">
                  <c:v>13.IX.21</c:v>
                </c:pt>
                <c:pt idx="261">
                  <c:v>14.IX.21</c:v>
                </c:pt>
                <c:pt idx="262">
                  <c:v>15.IX.21</c:v>
                </c:pt>
                <c:pt idx="263">
                  <c:v>16.IX.21</c:v>
                </c:pt>
                <c:pt idx="264">
                  <c:v>17.IX.21</c:v>
                </c:pt>
                <c:pt idx="265">
                  <c:v>18.IX.21</c:v>
                </c:pt>
                <c:pt idx="266">
                  <c:v>19.IX.21</c:v>
                </c:pt>
                <c:pt idx="267">
                  <c:v>20.IX.21</c:v>
                </c:pt>
                <c:pt idx="268">
                  <c:v>21.IX.21</c:v>
                </c:pt>
                <c:pt idx="269">
                  <c:v>22.IX.21</c:v>
                </c:pt>
                <c:pt idx="270">
                  <c:v>23.IX.21</c:v>
                </c:pt>
                <c:pt idx="271">
                  <c:v>24.IX.21</c:v>
                </c:pt>
                <c:pt idx="272">
                  <c:v>25.IX.21</c:v>
                </c:pt>
                <c:pt idx="273">
                  <c:v>26.IX.21</c:v>
                </c:pt>
                <c:pt idx="274">
                  <c:v>27.IX.21</c:v>
                </c:pt>
                <c:pt idx="275">
                  <c:v>28.IX.21</c:v>
                </c:pt>
                <c:pt idx="276">
                  <c:v>29.IX.21</c:v>
                </c:pt>
                <c:pt idx="277">
                  <c:v>30.IX.21</c:v>
                </c:pt>
                <c:pt idx="278">
                  <c:v>1.X.21</c:v>
                </c:pt>
                <c:pt idx="279">
                  <c:v>2.X.21</c:v>
                </c:pt>
                <c:pt idx="280">
                  <c:v>3.X.21</c:v>
                </c:pt>
                <c:pt idx="281">
                  <c:v>4.X.21</c:v>
                </c:pt>
                <c:pt idx="282">
                  <c:v>5.X.21</c:v>
                </c:pt>
                <c:pt idx="283">
                  <c:v>6.X.21</c:v>
                </c:pt>
                <c:pt idx="284">
                  <c:v>7.X.21</c:v>
                </c:pt>
                <c:pt idx="285">
                  <c:v>8.X.21</c:v>
                </c:pt>
                <c:pt idx="286">
                  <c:v>9.X.21</c:v>
                </c:pt>
                <c:pt idx="287">
                  <c:v>10.X.21</c:v>
                </c:pt>
                <c:pt idx="288">
                  <c:v>11.X.21</c:v>
                </c:pt>
                <c:pt idx="289">
                  <c:v>12.X.21</c:v>
                </c:pt>
                <c:pt idx="290">
                  <c:v>13.X.21</c:v>
                </c:pt>
                <c:pt idx="291">
                  <c:v>14.X.21</c:v>
                </c:pt>
                <c:pt idx="292">
                  <c:v>15.X.21</c:v>
                </c:pt>
                <c:pt idx="293">
                  <c:v>16.X.21</c:v>
                </c:pt>
                <c:pt idx="294">
                  <c:v>17.X.21</c:v>
                </c:pt>
                <c:pt idx="295">
                  <c:v>18.X.21</c:v>
                </c:pt>
                <c:pt idx="296">
                  <c:v>19.X.21</c:v>
                </c:pt>
                <c:pt idx="297">
                  <c:v>20.X.21</c:v>
                </c:pt>
                <c:pt idx="298">
                  <c:v>21.X.21</c:v>
                </c:pt>
                <c:pt idx="299">
                  <c:v>22.X.21</c:v>
                </c:pt>
                <c:pt idx="300">
                  <c:v>23.X.21</c:v>
                </c:pt>
                <c:pt idx="301">
                  <c:v>24.X.21</c:v>
                </c:pt>
                <c:pt idx="302">
                  <c:v>25.X.21</c:v>
                </c:pt>
                <c:pt idx="303">
                  <c:v>26.X.21</c:v>
                </c:pt>
                <c:pt idx="304">
                  <c:v>27.X.21</c:v>
                </c:pt>
                <c:pt idx="305">
                  <c:v>28.X.21</c:v>
                </c:pt>
                <c:pt idx="306">
                  <c:v>29.X.21</c:v>
                </c:pt>
                <c:pt idx="307">
                  <c:v>30.X.21</c:v>
                </c:pt>
                <c:pt idx="308">
                  <c:v>31.X.21</c:v>
                </c:pt>
                <c:pt idx="309">
                  <c:v>1.XI.21</c:v>
                </c:pt>
                <c:pt idx="310">
                  <c:v>2.XI.21</c:v>
                </c:pt>
                <c:pt idx="311">
                  <c:v>3.XI.21</c:v>
                </c:pt>
                <c:pt idx="312">
                  <c:v>4.XI.21</c:v>
                </c:pt>
                <c:pt idx="313">
                  <c:v>5.XI.21</c:v>
                </c:pt>
                <c:pt idx="314">
                  <c:v>6.XI.21</c:v>
                </c:pt>
                <c:pt idx="315">
                  <c:v>7.XI.21</c:v>
                </c:pt>
                <c:pt idx="316">
                  <c:v>8.XI.21</c:v>
                </c:pt>
                <c:pt idx="317">
                  <c:v>9.XI.21</c:v>
                </c:pt>
                <c:pt idx="318">
                  <c:v>10.XI.21</c:v>
                </c:pt>
                <c:pt idx="319">
                  <c:v>11.XI.21</c:v>
                </c:pt>
                <c:pt idx="320">
                  <c:v>12.XI.21</c:v>
                </c:pt>
                <c:pt idx="321">
                  <c:v>13.XI.21</c:v>
                </c:pt>
                <c:pt idx="322">
                  <c:v>14.XI.21</c:v>
                </c:pt>
                <c:pt idx="323">
                  <c:v>15.XI.21</c:v>
                </c:pt>
                <c:pt idx="324">
                  <c:v>16.XI.21</c:v>
                </c:pt>
                <c:pt idx="325">
                  <c:v>17.XI.21</c:v>
                </c:pt>
                <c:pt idx="326">
                  <c:v>18.XI.21</c:v>
                </c:pt>
                <c:pt idx="327">
                  <c:v>19.XI.21</c:v>
                </c:pt>
                <c:pt idx="328">
                  <c:v>20.XI.21</c:v>
                </c:pt>
                <c:pt idx="329">
                  <c:v>21.XI.21</c:v>
                </c:pt>
                <c:pt idx="330">
                  <c:v>22.XI.21</c:v>
                </c:pt>
                <c:pt idx="331">
                  <c:v>23.XI.21</c:v>
                </c:pt>
                <c:pt idx="332">
                  <c:v>24.XI.21</c:v>
                </c:pt>
                <c:pt idx="333">
                  <c:v>25.XI.21</c:v>
                </c:pt>
                <c:pt idx="334">
                  <c:v>26.XI.21</c:v>
                </c:pt>
                <c:pt idx="335">
                  <c:v>27.XI.21</c:v>
                </c:pt>
                <c:pt idx="336">
                  <c:v>28.XI.21</c:v>
                </c:pt>
                <c:pt idx="337">
                  <c:v>29.XI.21</c:v>
                </c:pt>
                <c:pt idx="338">
                  <c:v>30.XI.21</c:v>
                </c:pt>
                <c:pt idx="339">
                  <c:v>1.XII.21</c:v>
                </c:pt>
                <c:pt idx="340">
                  <c:v>2.XII.21</c:v>
                </c:pt>
                <c:pt idx="341">
                  <c:v>3.XII.21</c:v>
                </c:pt>
                <c:pt idx="342">
                  <c:v>4.XII.21</c:v>
                </c:pt>
                <c:pt idx="343">
                  <c:v>5.XII.21</c:v>
                </c:pt>
                <c:pt idx="344">
                  <c:v>6.XII.21</c:v>
                </c:pt>
                <c:pt idx="345">
                  <c:v>7.XII.21</c:v>
                </c:pt>
                <c:pt idx="346">
                  <c:v>8.XII.21</c:v>
                </c:pt>
                <c:pt idx="347">
                  <c:v>9.XII.21</c:v>
                </c:pt>
                <c:pt idx="348">
                  <c:v>10.XII.21</c:v>
                </c:pt>
                <c:pt idx="349">
                  <c:v>11.XII.21</c:v>
                </c:pt>
                <c:pt idx="350">
                  <c:v>12.XII.21</c:v>
                </c:pt>
                <c:pt idx="351">
                  <c:v>13.XII.21</c:v>
                </c:pt>
                <c:pt idx="352">
                  <c:v>14.XII.21</c:v>
                </c:pt>
                <c:pt idx="353">
                  <c:v>15.XII.21</c:v>
                </c:pt>
                <c:pt idx="354">
                  <c:v>16.XII.21</c:v>
                </c:pt>
                <c:pt idx="355">
                  <c:v>17.XII.21</c:v>
                </c:pt>
                <c:pt idx="356">
                  <c:v>18.XII.21</c:v>
                </c:pt>
                <c:pt idx="357">
                  <c:v>19.XII.21</c:v>
                </c:pt>
                <c:pt idx="358">
                  <c:v>20.XII.21</c:v>
                </c:pt>
                <c:pt idx="359">
                  <c:v>21.XII.21</c:v>
                </c:pt>
                <c:pt idx="360">
                  <c:v>22.XII.21</c:v>
                </c:pt>
                <c:pt idx="361">
                  <c:v>23.XII.21</c:v>
                </c:pt>
                <c:pt idx="362">
                  <c:v>24.XII.21</c:v>
                </c:pt>
                <c:pt idx="363">
                  <c:v>27.XII.21</c:v>
                </c:pt>
                <c:pt idx="364">
                  <c:v>28.XII.21</c:v>
                </c:pt>
                <c:pt idx="365">
                  <c:v>29.XII.21</c:v>
                </c:pt>
                <c:pt idx="366">
                  <c:v>30.XII.21</c:v>
                </c:pt>
                <c:pt idx="367">
                  <c:v>31.XII.21</c:v>
                </c:pt>
                <c:pt idx="368">
                  <c:v>2.I.22</c:v>
                </c:pt>
                <c:pt idx="369">
                  <c:v>3.I.22</c:v>
                </c:pt>
                <c:pt idx="370">
                  <c:v>4.I.22</c:v>
                </c:pt>
                <c:pt idx="371">
                  <c:v>5.I.22</c:v>
                </c:pt>
                <c:pt idx="372">
                  <c:v>6.I.22</c:v>
                </c:pt>
                <c:pt idx="373">
                  <c:v>7.I.22</c:v>
                </c:pt>
                <c:pt idx="374">
                  <c:v>8.I.22</c:v>
                </c:pt>
                <c:pt idx="375">
                  <c:v>9.I.22</c:v>
                </c:pt>
                <c:pt idx="376">
                  <c:v>10.I.22</c:v>
                </c:pt>
                <c:pt idx="377">
                  <c:v>11.I.22</c:v>
                </c:pt>
                <c:pt idx="378">
                  <c:v>12.I.22</c:v>
                </c:pt>
                <c:pt idx="379">
                  <c:v>13.I.22</c:v>
                </c:pt>
                <c:pt idx="380">
                  <c:v>14.I.22</c:v>
                </c:pt>
                <c:pt idx="381">
                  <c:v>15.I.22</c:v>
                </c:pt>
                <c:pt idx="382">
                  <c:v>16.I.22</c:v>
                </c:pt>
                <c:pt idx="383">
                  <c:v>17.I.22</c:v>
                </c:pt>
                <c:pt idx="384">
                  <c:v>18.I.22</c:v>
                </c:pt>
                <c:pt idx="385">
                  <c:v>19.I.22</c:v>
                </c:pt>
                <c:pt idx="386">
                  <c:v>20.I.22</c:v>
                </c:pt>
                <c:pt idx="387">
                  <c:v>21.I.22</c:v>
                </c:pt>
                <c:pt idx="388">
                  <c:v>22.I.22</c:v>
                </c:pt>
                <c:pt idx="389">
                  <c:v>23.I.22</c:v>
                </c:pt>
                <c:pt idx="390">
                  <c:v>24.I.22</c:v>
                </c:pt>
                <c:pt idx="391">
                  <c:v>25.I.22</c:v>
                </c:pt>
                <c:pt idx="392">
                  <c:v>26.I.22</c:v>
                </c:pt>
                <c:pt idx="393">
                  <c:v>27.I.22</c:v>
                </c:pt>
                <c:pt idx="394">
                  <c:v>28.I.22</c:v>
                </c:pt>
                <c:pt idx="395">
                  <c:v>29.I.22</c:v>
                </c:pt>
                <c:pt idx="396">
                  <c:v>30.I.22</c:v>
                </c:pt>
                <c:pt idx="397">
                  <c:v>31.I.22</c:v>
                </c:pt>
                <c:pt idx="398">
                  <c:v>1.II.22</c:v>
                </c:pt>
                <c:pt idx="399">
                  <c:v>2.II.22</c:v>
                </c:pt>
                <c:pt idx="400">
                  <c:v>3.II.22</c:v>
                </c:pt>
                <c:pt idx="401">
                  <c:v>4.II.22</c:v>
                </c:pt>
                <c:pt idx="402">
                  <c:v>5.II.22</c:v>
                </c:pt>
                <c:pt idx="403">
                  <c:v>6.II.22</c:v>
                </c:pt>
                <c:pt idx="404">
                  <c:v>7.II.22</c:v>
                </c:pt>
                <c:pt idx="405">
                  <c:v>8.II.22</c:v>
                </c:pt>
                <c:pt idx="406">
                  <c:v>9.II.22</c:v>
                </c:pt>
                <c:pt idx="407">
                  <c:v>10.II.22</c:v>
                </c:pt>
                <c:pt idx="408">
                  <c:v>11.II.22</c:v>
                </c:pt>
                <c:pt idx="409">
                  <c:v>12.II.22</c:v>
                </c:pt>
                <c:pt idx="410">
                  <c:v>14.II.22</c:v>
                </c:pt>
                <c:pt idx="411">
                  <c:v>15.II.22</c:v>
                </c:pt>
                <c:pt idx="412">
                  <c:v>16.II.22</c:v>
                </c:pt>
                <c:pt idx="413">
                  <c:v>17.II.22</c:v>
                </c:pt>
                <c:pt idx="414">
                  <c:v>18.II.22</c:v>
                </c:pt>
                <c:pt idx="415">
                  <c:v>19.II.22</c:v>
                </c:pt>
                <c:pt idx="416">
                  <c:v>21.II.22</c:v>
                </c:pt>
                <c:pt idx="417">
                  <c:v>22.II.22</c:v>
                </c:pt>
                <c:pt idx="418">
                  <c:v>23.II.22</c:v>
                </c:pt>
                <c:pt idx="419">
                  <c:v>24.II.22</c:v>
                </c:pt>
                <c:pt idx="420">
                  <c:v>25.II.22</c:v>
                </c:pt>
                <c:pt idx="421">
                  <c:v>28.II.22</c:v>
                </c:pt>
                <c:pt idx="422">
                  <c:v>1.III.22</c:v>
                </c:pt>
                <c:pt idx="423">
                  <c:v>2.III.22</c:v>
                </c:pt>
                <c:pt idx="424">
                  <c:v>3.III.22</c:v>
                </c:pt>
                <c:pt idx="425">
                  <c:v>4.III.22</c:v>
                </c:pt>
                <c:pt idx="426">
                  <c:v>5.III.22</c:v>
                </c:pt>
                <c:pt idx="427">
                  <c:v>7.III.22</c:v>
                </c:pt>
                <c:pt idx="428">
                  <c:v>8.III.22</c:v>
                </c:pt>
                <c:pt idx="429">
                  <c:v>9.III.22</c:v>
                </c:pt>
                <c:pt idx="430">
                  <c:v>10.III.22</c:v>
                </c:pt>
                <c:pt idx="431">
                  <c:v>11.III.22</c:v>
                </c:pt>
                <c:pt idx="432">
                  <c:v>12.III.22</c:v>
                </c:pt>
                <c:pt idx="433">
                  <c:v>14.III.22</c:v>
                </c:pt>
                <c:pt idx="434">
                  <c:v>15.III.22</c:v>
                </c:pt>
                <c:pt idx="435">
                  <c:v>16.III.22</c:v>
                </c:pt>
                <c:pt idx="436">
                  <c:v>17.III.22</c:v>
                </c:pt>
                <c:pt idx="437">
                  <c:v>18.III.22</c:v>
                </c:pt>
                <c:pt idx="438">
                  <c:v>21.III.22</c:v>
                </c:pt>
                <c:pt idx="439">
                  <c:v>22.III.22</c:v>
                </c:pt>
                <c:pt idx="440">
                  <c:v>23.III.22</c:v>
                </c:pt>
                <c:pt idx="441">
                  <c:v>24.III.22</c:v>
                </c:pt>
                <c:pt idx="442">
                  <c:v>25.III.22</c:v>
                </c:pt>
                <c:pt idx="443">
                  <c:v>26.III.22</c:v>
                </c:pt>
                <c:pt idx="444">
                  <c:v>28.III.22</c:v>
                </c:pt>
                <c:pt idx="445">
                  <c:v>29.III.22</c:v>
                </c:pt>
                <c:pt idx="446">
                  <c:v>30.III.22</c:v>
                </c:pt>
                <c:pt idx="447">
                  <c:v>31.III.22</c:v>
                </c:pt>
                <c:pt idx="448">
                  <c:v>1.IV.22</c:v>
                </c:pt>
              </c:strCache>
            </c:strRef>
          </c:cat>
          <c:val>
            <c:numRef>
              <c:f>List1!$I$2:$QO$2</c:f>
              <c:numCache>
                <c:formatCode>General</c:formatCode>
                <c:ptCount val="449"/>
                <c:pt idx="0">
                  <c:v>1050</c:v>
                </c:pt>
                <c:pt idx="1">
                  <c:v>2942</c:v>
                </c:pt>
                <c:pt idx="2">
                  <c:v>5608</c:v>
                </c:pt>
                <c:pt idx="3">
                  <c:v>8311</c:v>
                </c:pt>
                <c:pt idx="4">
                  <c:v>9201</c:v>
                </c:pt>
                <c:pt idx="5">
                  <c:v>9437</c:v>
                </c:pt>
                <c:pt idx="6">
                  <c:v>10596</c:v>
                </c:pt>
                <c:pt idx="7">
                  <c:v>11438</c:v>
                </c:pt>
                <c:pt idx="8">
                  <c:v>14604</c:v>
                </c:pt>
                <c:pt idx="9">
                  <c:v>18521</c:v>
                </c:pt>
                <c:pt idx="10">
                  <c:v>23448</c:v>
                </c:pt>
                <c:pt idx="11">
                  <c:v>29278</c:v>
                </c:pt>
                <c:pt idx="12">
                  <c:v>36062</c:v>
                </c:pt>
                <c:pt idx="13">
                  <c:v>37225</c:v>
                </c:pt>
                <c:pt idx="14">
                  <c:v>38183</c:v>
                </c:pt>
                <c:pt idx="15">
                  <c:v>44590</c:v>
                </c:pt>
                <c:pt idx="16">
                  <c:v>52006</c:v>
                </c:pt>
                <c:pt idx="17">
                  <c:v>58613</c:v>
                </c:pt>
                <c:pt idx="18">
                  <c:v>65594</c:v>
                </c:pt>
                <c:pt idx="19">
                  <c:v>71785</c:v>
                </c:pt>
                <c:pt idx="20">
                  <c:v>72721</c:v>
                </c:pt>
                <c:pt idx="21">
                  <c:v>73269</c:v>
                </c:pt>
                <c:pt idx="22">
                  <c:v>77952</c:v>
                </c:pt>
                <c:pt idx="23">
                  <c:v>81750</c:v>
                </c:pt>
                <c:pt idx="24">
                  <c:v>85470</c:v>
                </c:pt>
                <c:pt idx="25">
                  <c:v>88856</c:v>
                </c:pt>
                <c:pt idx="26">
                  <c:v>91748</c:v>
                </c:pt>
                <c:pt idx="27">
                  <c:v>92136</c:v>
                </c:pt>
                <c:pt idx="28">
                  <c:v>92372</c:v>
                </c:pt>
                <c:pt idx="29">
                  <c:v>93980</c:v>
                </c:pt>
                <c:pt idx="30">
                  <c:v>95745</c:v>
                </c:pt>
                <c:pt idx="31">
                  <c:v>97193</c:v>
                </c:pt>
                <c:pt idx="32">
                  <c:v>98580</c:v>
                </c:pt>
                <c:pt idx="33">
                  <c:v>99860</c:v>
                </c:pt>
                <c:pt idx="34">
                  <c:v>99931</c:v>
                </c:pt>
                <c:pt idx="35">
                  <c:v>100002</c:v>
                </c:pt>
                <c:pt idx="36">
                  <c:v>100895</c:v>
                </c:pt>
                <c:pt idx="37">
                  <c:v>101763</c:v>
                </c:pt>
                <c:pt idx="38">
                  <c:v>102579</c:v>
                </c:pt>
                <c:pt idx="39">
                  <c:v>103287</c:v>
                </c:pt>
                <c:pt idx="40">
                  <c:v>104215</c:v>
                </c:pt>
                <c:pt idx="41">
                  <c:v>104266</c:v>
                </c:pt>
                <c:pt idx="42">
                  <c:v>104317</c:v>
                </c:pt>
                <c:pt idx="43">
                  <c:v>104957</c:v>
                </c:pt>
                <c:pt idx="44">
                  <c:v>105612</c:v>
                </c:pt>
                <c:pt idx="45">
                  <c:v>106476</c:v>
                </c:pt>
                <c:pt idx="46">
                  <c:v>107530</c:v>
                </c:pt>
                <c:pt idx="47">
                  <c:v>108732</c:v>
                </c:pt>
                <c:pt idx="48">
                  <c:v>109117</c:v>
                </c:pt>
                <c:pt idx="49">
                  <c:v>109301</c:v>
                </c:pt>
                <c:pt idx="50">
                  <c:v>110623</c:v>
                </c:pt>
                <c:pt idx="51">
                  <c:v>111914</c:v>
                </c:pt>
                <c:pt idx="52">
                  <c:v>113291</c:v>
                </c:pt>
                <c:pt idx="53">
                  <c:v>114855</c:v>
                </c:pt>
                <c:pt idx="54">
                  <c:v>116712</c:v>
                </c:pt>
                <c:pt idx="55">
                  <c:v>117173</c:v>
                </c:pt>
                <c:pt idx="56">
                  <c:v>117336</c:v>
                </c:pt>
                <c:pt idx="57">
                  <c:v>118927</c:v>
                </c:pt>
                <c:pt idx="58">
                  <c:v>121220</c:v>
                </c:pt>
                <c:pt idx="59">
                  <c:v>123721</c:v>
                </c:pt>
                <c:pt idx="60">
                  <c:v>126752</c:v>
                </c:pt>
                <c:pt idx="61">
                  <c:v>129357</c:v>
                </c:pt>
                <c:pt idx="62">
                  <c:v>129664</c:v>
                </c:pt>
                <c:pt idx="63">
                  <c:v>129885</c:v>
                </c:pt>
                <c:pt idx="64">
                  <c:v>132432</c:v>
                </c:pt>
                <c:pt idx="65">
                  <c:v>135187</c:v>
                </c:pt>
                <c:pt idx="66">
                  <c:v>137856</c:v>
                </c:pt>
                <c:pt idx="67">
                  <c:v>140311</c:v>
                </c:pt>
                <c:pt idx="68">
                  <c:v>143277</c:v>
                </c:pt>
                <c:pt idx="69">
                  <c:v>143984</c:v>
                </c:pt>
                <c:pt idx="70">
                  <c:v>144499</c:v>
                </c:pt>
                <c:pt idx="71">
                  <c:v>146447</c:v>
                </c:pt>
                <c:pt idx="72">
                  <c:v>148593</c:v>
                </c:pt>
                <c:pt idx="73">
                  <c:v>150841</c:v>
                </c:pt>
                <c:pt idx="74">
                  <c:v>153842</c:v>
                </c:pt>
                <c:pt idx="75">
                  <c:v>156461</c:v>
                </c:pt>
                <c:pt idx="76">
                  <c:v>157119</c:v>
                </c:pt>
                <c:pt idx="77">
                  <c:v>157688</c:v>
                </c:pt>
                <c:pt idx="78">
                  <c:v>159275</c:v>
                </c:pt>
                <c:pt idx="79">
                  <c:v>161606</c:v>
                </c:pt>
                <c:pt idx="80">
                  <c:v>163921</c:v>
                </c:pt>
                <c:pt idx="81">
                  <c:v>165949</c:v>
                </c:pt>
                <c:pt idx="82">
                  <c:v>168210</c:v>
                </c:pt>
                <c:pt idx="83">
                  <c:v>169085</c:v>
                </c:pt>
                <c:pt idx="84">
                  <c:v>169532</c:v>
                </c:pt>
                <c:pt idx="85">
                  <c:v>170685</c:v>
                </c:pt>
                <c:pt idx="86">
                  <c:v>171923</c:v>
                </c:pt>
                <c:pt idx="87">
                  <c:v>172992</c:v>
                </c:pt>
                <c:pt idx="88">
                  <c:v>174288</c:v>
                </c:pt>
                <c:pt idx="89">
                  <c:v>175666</c:v>
                </c:pt>
                <c:pt idx="90">
                  <c:v>176040</c:v>
                </c:pt>
                <c:pt idx="91">
                  <c:v>176384</c:v>
                </c:pt>
                <c:pt idx="92">
                  <c:v>177167</c:v>
                </c:pt>
                <c:pt idx="93">
                  <c:v>178196</c:v>
                </c:pt>
                <c:pt idx="94">
                  <c:v>179316</c:v>
                </c:pt>
                <c:pt idx="95">
                  <c:v>180420</c:v>
                </c:pt>
                <c:pt idx="96">
                  <c:v>180688</c:v>
                </c:pt>
                <c:pt idx="97">
                  <c:v>180808</c:v>
                </c:pt>
                <c:pt idx="98">
                  <c:v>180923</c:v>
                </c:pt>
                <c:pt idx="99">
                  <c:v>180995</c:v>
                </c:pt>
                <c:pt idx="100">
                  <c:v>181559</c:v>
                </c:pt>
                <c:pt idx="101">
                  <c:v>182233</c:v>
                </c:pt>
                <c:pt idx="102">
                  <c:v>183479</c:v>
                </c:pt>
                <c:pt idx="103">
                  <c:v>184756</c:v>
                </c:pt>
                <c:pt idx="104">
                  <c:v>185133</c:v>
                </c:pt>
                <c:pt idx="105">
                  <c:v>185383</c:v>
                </c:pt>
                <c:pt idx="106">
                  <c:v>186323</c:v>
                </c:pt>
                <c:pt idx="107">
                  <c:v>187138</c:v>
                </c:pt>
                <c:pt idx="108">
                  <c:v>188082</c:v>
                </c:pt>
                <c:pt idx="109">
                  <c:v>189451</c:v>
                </c:pt>
                <c:pt idx="110">
                  <c:v>190999</c:v>
                </c:pt>
                <c:pt idx="111">
                  <c:v>191422</c:v>
                </c:pt>
                <c:pt idx="112">
                  <c:v>191863</c:v>
                </c:pt>
                <c:pt idx="113">
                  <c:v>192970</c:v>
                </c:pt>
                <c:pt idx="114">
                  <c:v>194019</c:v>
                </c:pt>
                <c:pt idx="115">
                  <c:v>195311</c:v>
                </c:pt>
                <c:pt idx="116">
                  <c:v>196782</c:v>
                </c:pt>
                <c:pt idx="117">
                  <c:v>198297</c:v>
                </c:pt>
                <c:pt idx="118">
                  <c:v>198737</c:v>
                </c:pt>
                <c:pt idx="119">
                  <c:v>199111</c:v>
                </c:pt>
                <c:pt idx="120">
                  <c:v>200308</c:v>
                </c:pt>
                <c:pt idx="121">
                  <c:v>201398</c:v>
                </c:pt>
                <c:pt idx="122">
                  <c:v>202786</c:v>
                </c:pt>
                <c:pt idx="123">
                  <c:v>204262</c:v>
                </c:pt>
                <c:pt idx="124">
                  <c:v>205666</c:v>
                </c:pt>
                <c:pt idx="125">
                  <c:v>206003</c:v>
                </c:pt>
                <c:pt idx="126">
                  <c:v>206340</c:v>
                </c:pt>
                <c:pt idx="127">
                  <c:v>207423</c:v>
                </c:pt>
                <c:pt idx="128">
                  <c:v>208529</c:v>
                </c:pt>
                <c:pt idx="129">
                  <c:v>209677</c:v>
                </c:pt>
                <c:pt idx="130">
                  <c:v>210874</c:v>
                </c:pt>
                <c:pt idx="131">
                  <c:v>212180</c:v>
                </c:pt>
                <c:pt idx="132">
                  <c:v>212682</c:v>
                </c:pt>
                <c:pt idx="133">
                  <c:v>212991</c:v>
                </c:pt>
                <c:pt idx="134">
                  <c:v>213963</c:v>
                </c:pt>
                <c:pt idx="135">
                  <c:v>214991</c:v>
                </c:pt>
                <c:pt idx="136">
                  <c:v>216031</c:v>
                </c:pt>
                <c:pt idx="137">
                  <c:v>217173</c:v>
                </c:pt>
                <c:pt idx="138">
                  <c:v>218177</c:v>
                </c:pt>
                <c:pt idx="139">
                  <c:v>218619</c:v>
                </c:pt>
                <c:pt idx="140">
                  <c:v>218905</c:v>
                </c:pt>
                <c:pt idx="141">
                  <c:v>219693</c:v>
                </c:pt>
                <c:pt idx="142">
                  <c:v>220576</c:v>
                </c:pt>
                <c:pt idx="143">
                  <c:v>221486</c:v>
                </c:pt>
                <c:pt idx="144">
                  <c:v>222424</c:v>
                </c:pt>
                <c:pt idx="145">
                  <c:v>223353</c:v>
                </c:pt>
                <c:pt idx="146">
                  <c:v>223706</c:v>
                </c:pt>
                <c:pt idx="147">
                  <c:v>223935</c:v>
                </c:pt>
                <c:pt idx="148">
                  <c:v>224488</c:v>
                </c:pt>
                <c:pt idx="149">
                  <c:v>225117</c:v>
                </c:pt>
                <c:pt idx="150">
                  <c:v>225971</c:v>
                </c:pt>
                <c:pt idx="151">
                  <c:v>226753</c:v>
                </c:pt>
                <c:pt idx="152">
                  <c:v>227582</c:v>
                </c:pt>
                <c:pt idx="153">
                  <c:v>227949</c:v>
                </c:pt>
                <c:pt idx="154">
                  <c:v>228238</c:v>
                </c:pt>
                <c:pt idx="155">
                  <c:v>228934</c:v>
                </c:pt>
                <c:pt idx="156">
                  <c:v>229656</c:v>
                </c:pt>
                <c:pt idx="157">
                  <c:v>230546</c:v>
                </c:pt>
                <c:pt idx="158">
                  <c:v>231387</c:v>
                </c:pt>
                <c:pt idx="159">
                  <c:v>232278</c:v>
                </c:pt>
                <c:pt idx="160">
                  <c:v>232703</c:v>
                </c:pt>
                <c:pt idx="161">
                  <c:v>233109</c:v>
                </c:pt>
                <c:pt idx="162">
                  <c:v>234005</c:v>
                </c:pt>
                <c:pt idx="163">
                  <c:v>234991</c:v>
                </c:pt>
                <c:pt idx="164">
                  <c:v>235917</c:v>
                </c:pt>
                <c:pt idx="165">
                  <c:v>236798</c:v>
                </c:pt>
                <c:pt idx="166">
                  <c:v>237657</c:v>
                </c:pt>
                <c:pt idx="167">
                  <c:v>238187</c:v>
                </c:pt>
                <c:pt idx="168">
                  <c:v>238562</c:v>
                </c:pt>
                <c:pt idx="169">
                  <c:v>239232</c:v>
                </c:pt>
                <c:pt idx="170">
                  <c:v>239996</c:v>
                </c:pt>
                <c:pt idx="171">
                  <c:v>240701</c:v>
                </c:pt>
                <c:pt idx="172">
                  <c:v>241418</c:v>
                </c:pt>
                <c:pt idx="173">
                  <c:v>242095</c:v>
                </c:pt>
                <c:pt idx="174">
                  <c:v>242432</c:v>
                </c:pt>
                <c:pt idx="175">
                  <c:v>242693</c:v>
                </c:pt>
                <c:pt idx="176">
                  <c:v>243207</c:v>
                </c:pt>
                <c:pt idx="177">
                  <c:v>243797</c:v>
                </c:pt>
                <c:pt idx="178">
                  <c:v>244296</c:v>
                </c:pt>
                <c:pt idx="179">
                  <c:v>244799</c:v>
                </c:pt>
                <c:pt idx="180">
                  <c:v>245302</c:v>
                </c:pt>
                <c:pt idx="181">
                  <c:v>245559</c:v>
                </c:pt>
                <c:pt idx="182">
                  <c:v>245752</c:v>
                </c:pt>
                <c:pt idx="183">
                  <c:v>246250</c:v>
                </c:pt>
                <c:pt idx="184">
                  <c:v>246712</c:v>
                </c:pt>
                <c:pt idx="185">
                  <c:v>247196</c:v>
                </c:pt>
                <c:pt idx="186">
                  <c:v>247560</c:v>
                </c:pt>
                <c:pt idx="187">
                  <c:v>248046</c:v>
                </c:pt>
                <c:pt idx="188">
                  <c:v>248144</c:v>
                </c:pt>
                <c:pt idx="189">
                  <c:v>248262</c:v>
                </c:pt>
                <c:pt idx="190">
                  <c:v>248375</c:v>
                </c:pt>
                <c:pt idx="191">
                  <c:v>248476</c:v>
                </c:pt>
                <c:pt idx="192">
                  <c:v>248889</c:v>
                </c:pt>
                <c:pt idx="193">
                  <c:v>249340</c:v>
                </c:pt>
                <c:pt idx="194">
                  <c:v>249786</c:v>
                </c:pt>
                <c:pt idx="195">
                  <c:v>249954</c:v>
                </c:pt>
                <c:pt idx="196">
                  <c:v>250075</c:v>
                </c:pt>
                <c:pt idx="197">
                  <c:v>250521</c:v>
                </c:pt>
                <c:pt idx="198">
                  <c:v>250969</c:v>
                </c:pt>
                <c:pt idx="199">
                  <c:v>251459</c:v>
                </c:pt>
                <c:pt idx="200">
                  <c:v>251959</c:v>
                </c:pt>
                <c:pt idx="201">
                  <c:v>252448</c:v>
                </c:pt>
                <c:pt idx="202">
                  <c:v>252630</c:v>
                </c:pt>
                <c:pt idx="203">
                  <c:v>252777</c:v>
                </c:pt>
                <c:pt idx="204">
                  <c:v>253200</c:v>
                </c:pt>
                <c:pt idx="205">
                  <c:v>253555</c:v>
                </c:pt>
                <c:pt idx="206">
                  <c:v>254025</c:v>
                </c:pt>
                <c:pt idx="207">
                  <c:v>254420</c:v>
                </c:pt>
                <c:pt idx="208">
                  <c:v>254813</c:v>
                </c:pt>
                <c:pt idx="209">
                  <c:v>254924</c:v>
                </c:pt>
                <c:pt idx="210">
                  <c:v>255014</c:v>
                </c:pt>
                <c:pt idx="211">
                  <c:v>255405</c:v>
                </c:pt>
                <c:pt idx="212">
                  <c:v>255825</c:v>
                </c:pt>
                <c:pt idx="213">
                  <c:v>256188</c:v>
                </c:pt>
                <c:pt idx="214">
                  <c:v>256525</c:v>
                </c:pt>
                <c:pt idx="215">
                  <c:v>256945</c:v>
                </c:pt>
                <c:pt idx="216">
                  <c:v>257067</c:v>
                </c:pt>
                <c:pt idx="217">
                  <c:v>257170</c:v>
                </c:pt>
                <c:pt idx="218">
                  <c:v>257453</c:v>
                </c:pt>
                <c:pt idx="219">
                  <c:v>257721</c:v>
                </c:pt>
                <c:pt idx="220">
                  <c:v>258035</c:v>
                </c:pt>
                <c:pt idx="221">
                  <c:v>258301</c:v>
                </c:pt>
                <c:pt idx="222">
                  <c:v>258582</c:v>
                </c:pt>
                <c:pt idx="223">
                  <c:v>258655</c:v>
                </c:pt>
                <c:pt idx="224">
                  <c:v>258719</c:v>
                </c:pt>
                <c:pt idx="225">
                  <c:v>258930</c:v>
                </c:pt>
                <c:pt idx="226">
                  <c:v>259140</c:v>
                </c:pt>
                <c:pt idx="227">
                  <c:v>259302</c:v>
                </c:pt>
                <c:pt idx="228">
                  <c:v>259536</c:v>
                </c:pt>
                <c:pt idx="229">
                  <c:v>259728</c:v>
                </c:pt>
                <c:pt idx="230">
                  <c:v>259785</c:v>
                </c:pt>
                <c:pt idx="231">
                  <c:v>259831</c:v>
                </c:pt>
                <c:pt idx="232">
                  <c:v>260012</c:v>
                </c:pt>
                <c:pt idx="233">
                  <c:v>260194</c:v>
                </c:pt>
                <c:pt idx="234">
                  <c:v>260362</c:v>
                </c:pt>
                <c:pt idx="235">
                  <c:v>260526</c:v>
                </c:pt>
                <c:pt idx="236">
                  <c:v>260772</c:v>
                </c:pt>
                <c:pt idx="237">
                  <c:v>260814</c:v>
                </c:pt>
                <c:pt idx="238">
                  <c:v>260847</c:v>
                </c:pt>
                <c:pt idx="239">
                  <c:v>261049</c:v>
                </c:pt>
                <c:pt idx="240">
                  <c:v>261241</c:v>
                </c:pt>
                <c:pt idx="241">
                  <c:v>261408</c:v>
                </c:pt>
                <c:pt idx="242">
                  <c:v>261570</c:v>
                </c:pt>
                <c:pt idx="243">
                  <c:v>261790</c:v>
                </c:pt>
                <c:pt idx="244">
                  <c:v>261834</c:v>
                </c:pt>
                <c:pt idx="245">
                  <c:v>261867</c:v>
                </c:pt>
                <c:pt idx="246">
                  <c:v>262040</c:v>
                </c:pt>
                <c:pt idx="247">
                  <c:v>262205</c:v>
                </c:pt>
                <c:pt idx="248">
                  <c:v>262331</c:v>
                </c:pt>
                <c:pt idx="249">
                  <c:v>262506</c:v>
                </c:pt>
                <c:pt idx="250">
                  <c:v>262701</c:v>
                </c:pt>
                <c:pt idx="251">
                  <c:v>262736</c:v>
                </c:pt>
                <c:pt idx="252">
                  <c:v>262769</c:v>
                </c:pt>
                <c:pt idx="253">
                  <c:v>262905</c:v>
                </c:pt>
                <c:pt idx="254">
                  <c:v>262995</c:v>
                </c:pt>
                <c:pt idx="255">
                  <c:v>263118</c:v>
                </c:pt>
                <c:pt idx="256">
                  <c:v>263261</c:v>
                </c:pt>
                <c:pt idx="257">
                  <c:v>263407</c:v>
                </c:pt>
                <c:pt idx="258">
                  <c:v>263442</c:v>
                </c:pt>
                <c:pt idx="259">
                  <c:v>263465</c:v>
                </c:pt>
                <c:pt idx="260">
                  <c:v>263576</c:v>
                </c:pt>
                <c:pt idx="261">
                  <c:v>263708</c:v>
                </c:pt>
                <c:pt idx="262">
                  <c:v>263815</c:v>
                </c:pt>
                <c:pt idx="263">
                  <c:v>263936</c:v>
                </c:pt>
                <c:pt idx="264">
                  <c:v>264100</c:v>
                </c:pt>
                <c:pt idx="265">
                  <c:v>264141</c:v>
                </c:pt>
                <c:pt idx="266">
                  <c:v>264154</c:v>
                </c:pt>
                <c:pt idx="267">
                  <c:v>264257</c:v>
                </c:pt>
                <c:pt idx="268">
                  <c:v>264361</c:v>
                </c:pt>
                <c:pt idx="269">
                  <c:v>264459</c:v>
                </c:pt>
                <c:pt idx="270">
                  <c:v>264593</c:v>
                </c:pt>
                <c:pt idx="271">
                  <c:v>264759</c:v>
                </c:pt>
                <c:pt idx="272">
                  <c:v>264791</c:v>
                </c:pt>
                <c:pt idx="273">
                  <c:v>264801</c:v>
                </c:pt>
                <c:pt idx="274">
                  <c:v>264898</c:v>
                </c:pt>
                <c:pt idx="275">
                  <c:v>264906</c:v>
                </c:pt>
                <c:pt idx="276">
                  <c:v>264990</c:v>
                </c:pt>
                <c:pt idx="277">
                  <c:v>265090</c:v>
                </c:pt>
                <c:pt idx="278">
                  <c:v>265183</c:v>
                </c:pt>
                <c:pt idx="279">
                  <c:v>265204</c:v>
                </c:pt>
                <c:pt idx="280">
                  <c:v>265218</c:v>
                </c:pt>
                <c:pt idx="281">
                  <c:v>265285</c:v>
                </c:pt>
                <c:pt idx="282">
                  <c:v>265368</c:v>
                </c:pt>
                <c:pt idx="283">
                  <c:v>265467</c:v>
                </c:pt>
                <c:pt idx="284">
                  <c:v>265537</c:v>
                </c:pt>
                <c:pt idx="285">
                  <c:v>265649</c:v>
                </c:pt>
                <c:pt idx="286">
                  <c:v>265674</c:v>
                </c:pt>
                <c:pt idx="287">
                  <c:v>265686</c:v>
                </c:pt>
                <c:pt idx="288">
                  <c:v>265762</c:v>
                </c:pt>
                <c:pt idx="289">
                  <c:v>265847</c:v>
                </c:pt>
                <c:pt idx="290">
                  <c:v>265928</c:v>
                </c:pt>
                <c:pt idx="291">
                  <c:v>265997</c:v>
                </c:pt>
                <c:pt idx="292">
                  <c:v>266118</c:v>
                </c:pt>
                <c:pt idx="293">
                  <c:v>266149</c:v>
                </c:pt>
                <c:pt idx="294">
                  <c:v>266179</c:v>
                </c:pt>
                <c:pt idx="295">
                  <c:v>266310</c:v>
                </c:pt>
                <c:pt idx="296">
                  <c:v>266405</c:v>
                </c:pt>
                <c:pt idx="297">
                  <c:v>266536</c:v>
                </c:pt>
                <c:pt idx="298">
                  <c:v>266775</c:v>
                </c:pt>
                <c:pt idx="299">
                  <c:v>267082</c:v>
                </c:pt>
                <c:pt idx="300">
                  <c:v>267165</c:v>
                </c:pt>
                <c:pt idx="301">
                  <c:v>267229</c:v>
                </c:pt>
                <c:pt idx="302">
                  <c:v>267491</c:v>
                </c:pt>
                <c:pt idx="303">
                  <c:v>267853</c:v>
                </c:pt>
                <c:pt idx="304">
                  <c:v>268272</c:v>
                </c:pt>
                <c:pt idx="305">
                  <c:v>268356</c:v>
                </c:pt>
                <c:pt idx="306">
                  <c:v>268735</c:v>
                </c:pt>
                <c:pt idx="307">
                  <c:v>268843</c:v>
                </c:pt>
                <c:pt idx="308">
                  <c:v>268913</c:v>
                </c:pt>
                <c:pt idx="309">
                  <c:v>269329</c:v>
                </c:pt>
                <c:pt idx="310">
                  <c:v>269747</c:v>
                </c:pt>
                <c:pt idx="311">
                  <c:v>270164</c:v>
                </c:pt>
                <c:pt idx="312">
                  <c:v>270661</c:v>
                </c:pt>
                <c:pt idx="313">
                  <c:v>271224</c:v>
                </c:pt>
                <c:pt idx="314">
                  <c:v>271379</c:v>
                </c:pt>
                <c:pt idx="315">
                  <c:v>271473</c:v>
                </c:pt>
                <c:pt idx="316">
                  <c:v>271872</c:v>
                </c:pt>
                <c:pt idx="317">
                  <c:v>272212</c:v>
                </c:pt>
                <c:pt idx="318">
                  <c:v>272597</c:v>
                </c:pt>
                <c:pt idx="319">
                  <c:v>272996</c:v>
                </c:pt>
                <c:pt idx="320">
                  <c:v>273531</c:v>
                </c:pt>
                <c:pt idx="321">
                  <c:v>273655</c:v>
                </c:pt>
                <c:pt idx="322">
                  <c:v>273741</c:v>
                </c:pt>
                <c:pt idx="323">
                  <c:v>274161</c:v>
                </c:pt>
                <c:pt idx="324">
                  <c:v>274629</c:v>
                </c:pt>
                <c:pt idx="325">
                  <c:v>274733</c:v>
                </c:pt>
                <c:pt idx="326">
                  <c:v>275242</c:v>
                </c:pt>
                <c:pt idx="327">
                  <c:v>275865</c:v>
                </c:pt>
                <c:pt idx="328">
                  <c:v>276061</c:v>
                </c:pt>
                <c:pt idx="329">
                  <c:v>276203</c:v>
                </c:pt>
                <c:pt idx="330">
                  <c:v>276624</c:v>
                </c:pt>
                <c:pt idx="331">
                  <c:v>277045</c:v>
                </c:pt>
                <c:pt idx="332">
                  <c:v>277506</c:v>
                </c:pt>
                <c:pt idx="333">
                  <c:v>277983</c:v>
                </c:pt>
                <c:pt idx="334">
                  <c:v>278500</c:v>
                </c:pt>
                <c:pt idx="335">
                  <c:v>278650</c:v>
                </c:pt>
                <c:pt idx="336">
                  <c:v>278701</c:v>
                </c:pt>
                <c:pt idx="337">
                  <c:v>279051</c:v>
                </c:pt>
                <c:pt idx="338">
                  <c:v>279385</c:v>
                </c:pt>
                <c:pt idx="339">
                  <c:v>279734</c:v>
                </c:pt>
                <c:pt idx="340">
                  <c:v>279988</c:v>
                </c:pt>
                <c:pt idx="341">
                  <c:v>280252</c:v>
                </c:pt>
                <c:pt idx="342">
                  <c:v>280305</c:v>
                </c:pt>
                <c:pt idx="343">
                  <c:v>280325</c:v>
                </c:pt>
                <c:pt idx="344">
                  <c:v>280515</c:v>
                </c:pt>
                <c:pt idx="345">
                  <c:v>280695</c:v>
                </c:pt>
                <c:pt idx="346">
                  <c:v>280904</c:v>
                </c:pt>
                <c:pt idx="347">
                  <c:v>281072</c:v>
                </c:pt>
                <c:pt idx="348">
                  <c:v>281260</c:v>
                </c:pt>
                <c:pt idx="349">
                  <c:v>281296</c:v>
                </c:pt>
                <c:pt idx="350">
                  <c:v>281322</c:v>
                </c:pt>
                <c:pt idx="351">
                  <c:v>281497</c:v>
                </c:pt>
                <c:pt idx="352">
                  <c:v>281643</c:v>
                </c:pt>
                <c:pt idx="353">
                  <c:v>281781</c:v>
                </c:pt>
                <c:pt idx="354">
                  <c:v>281953</c:v>
                </c:pt>
                <c:pt idx="355">
                  <c:v>282144</c:v>
                </c:pt>
                <c:pt idx="356">
                  <c:v>282199</c:v>
                </c:pt>
                <c:pt idx="357">
                  <c:v>282214</c:v>
                </c:pt>
                <c:pt idx="358">
                  <c:v>282337</c:v>
                </c:pt>
                <c:pt idx="359">
                  <c:v>282442</c:v>
                </c:pt>
                <c:pt idx="360">
                  <c:v>282532</c:v>
                </c:pt>
                <c:pt idx="361">
                  <c:v>282564</c:v>
                </c:pt>
                <c:pt idx="362">
                  <c:v>282565</c:v>
                </c:pt>
                <c:pt idx="363">
                  <c:v>282627</c:v>
                </c:pt>
                <c:pt idx="364">
                  <c:v>282697</c:v>
                </c:pt>
                <c:pt idx="365">
                  <c:v>282765</c:v>
                </c:pt>
                <c:pt idx="366">
                  <c:v>282838</c:v>
                </c:pt>
                <c:pt idx="367">
                  <c:v>282846</c:v>
                </c:pt>
                <c:pt idx="368">
                  <c:v>282853</c:v>
                </c:pt>
                <c:pt idx="369">
                  <c:v>282935</c:v>
                </c:pt>
                <c:pt idx="370">
                  <c:v>283014</c:v>
                </c:pt>
                <c:pt idx="371">
                  <c:v>283117</c:v>
                </c:pt>
                <c:pt idx="372">
                  <c:v>283232</c:v>
                </c:pt>
                <c:pt idx="373">
                  <c:v>283409</c:v>
                </c:pt>
                <c:pt idx="374">
                  <c:v>283431</c:v>
                </c:pt>
                <c:pt idx="375">
                  <c:v>283449</c:v>
                </c:pt>
                <c:pt idx="376">
                  <c:v>283535</c:v>
                </c:pt>
                <c:pt idx="377">
                  <c:v>283630</c:v>
                </c:pt>
                <c:pt idx="378">
                  <c:v>283737</c:v>
                </c:pt>
                <c:pt idx="379">
                  <c:v>283856</c:v>
                </c:pt>
                <c:pt idx="380">
                  <c:v>284012</c:v>
                </c:pt>
                <c:pt idx="381">
                  <c:v>284049</c:v>
                </c:pt>
                <c:pt idx="382">
                  <c:v>284065</c:v>
                </c:pt>
                <c:pt idx="383">
                  <c:v>284158</c:v>
                </c:pt>
                <c:pt idx="384">
                  <c:v>284263</c:v>
                </c:pt>
                <c:pt idx="385">
                  <c:v>284332</c:v>
                </c:pt>
                <c:pt idx="386">
                  <c:v>284394</c:v>
                </c:pt>
                <c:pt idx="387">
                  <c:v>284490</c:v>
                </c:pt>
                <c:pt idx="388">
                  <c:v>284498</c:v>
                </c:pt>
                <c:pt idx="389">
                  <c:v>284506</c:v>
                </c:pt>
                <c:pt idx="390">
                  <c:v>284546</c:v>
                </c:pt>
                <c:pt idx="391">
                  <c:v>284587</c:v>
                </c:pt>
                <c:pt idx="392">
                  <c:v>284631</c:v>
                </c:pt>
                <c:pt idx="393">
                  <c:v>284668</c:v>
                </c:pt>
                <c:pt idx="394">
                  <c:v>284731</c:v>
                </c:pt>
                <c:pt idx="395">
                  <c:v>284745</c:v>
                </c:pt>
                <c:pt idx="396">
                  <c:v>284748</c:v>
                </c:pt>
                <c:pt idx="397">
                  <c:v>284773</c:v>
                </c:pt>
                <c:pt idx="398">
                  <c:v>284793</c:v>
                </c:pt>
                <c:pt idx="399">
                  <c:v>284817</c:v>
                </c:pt>
                <c:pt idx="400">
                  <c:v>284838</c:v>
                </c:pt>
                <c:pt idx="401">
                  <c:v>284870</c:v>
                </c:pt>
                <c:pt idx="402">
                  <c:v>284872</c:v>
                </c:pt>
                <c:pt idx="403">
                  <c:v>284873</c:v>
                </c:pt>
                <c:pt idx="404">
                  <c:v>284887</c:v>
                </c:pt>
                <c:pt idx="405">
                  <c:v>284899</c:v>
                </c:pt>
                <c:pt idx="406">
                  <c:v>284909</c:v>
                </c:pt>
                <c:pt idx="407">
                  <c:v>284923</c:v>
                </c:pt>
                <c:pt idx="408">
                  <c:v>284947</c:v>
                </c:pt>
                <c:pt idx="409">
                  <c:v>284948</c:v>
                </c:pt>
                <c:pt idx="410">
                  <c:v>284954</c:v>
                </c:pt>
                <c:pt idx="411">
                  <c:v>284964</c:v>
                </c:pt>
                <c:pt idx="412">
                  <c:v>284971</c:v>
                </c:pt>
                <c:pt idx="413">
                  <c:v>284976</c:v>
                </c:pt>
                <c:pt idx="414">
                  <c:v>284980</c:v>
                </c:pt>
                <c:pt idx="415">
                  <c:v>284982</c:v>
                </c:pt>
                <c:pt idx="416">
                  <c:v>284989</c:v>
                </c:pt>
                <c:pt idx="417">
                  <c:v>284991</c:v>
                </c:pt>
                <c:pt idx="418">
                  <c:v>284994</c:v>
                </c:pt>
                <c:pt idx="419">
                  <c:v>284998</c:v>
                </c:pt>
                <c:pt idx="420">
                  <c:v>285006</c:v>
                </c:pt>
                <c:pt idx="421">
                  <c:v>285008</c:v>
                </c:pt>
                <c:pt idx="422">
                  <c:v>285015</c:v>
                </c:pt>
                <c:pt idx="423">
                  <c:v>285018</c:v>
                </c:pt>
                <c:pt idx="424">
                  <c:v>285022</c:v>
                </c:pt>
                <c:pt idx="425">
                  <c:v>285047</c:v>
                </c:pt>
                <c:pt idx="426">
                  <c:v>285050</c:v>
                </c:pt>
                <c:pt idx="427">
                  <c:v>285053</c:v>
                </c:pt>
                <c:pt idx="428">
                  <c:v>285059</c:v>
                </c:pt>
                <c:pt idx="429">
                  <c:v>285073</c:v>
                </c:pt>
                <c:pt idx="430">
                  <c:v>285085</c:v>
                </c:pt>
                <c:pt idx="431">
                  <c:v>285114</c:v>
                </c:pt>
                <c:pt idx="432">
                  <c:v>285116</c:v>
                </c:pt>
                <c:pt idx="433">
                  <c:v>285126</c:v>
                </c:pt>
                <c:pt idx="434">
                  <c:v>285130</c:v>
                </c:pt>
                <c:pt idx="435">
                  <c:v>285135</c:v>
                </c:pt>
                <c:pt idx="436">
                  <c:v>285145</c:v>
                </c:pt>
                <c:pt idx="437">
                  <c:v>285161</c:v>
                </c:pt>
                <c:pt idx="438">
                  <c:v>285163</c:v>
                </c:pt>
                <c:pt idx="439">
                  <c:v>285172</c:v>
                </c:pt>
                <c:pt idx="440">
                  <c:v>285181</c:v>
                </c:pt>
                <c:pt idx="441">
                  <c:v>285189</c:v>
                </c:pt>
                <c:pt idx="442">
                  <c:v>285204</c:v>
                </c:pt>
                <c:pt idx="443">
                  <c:v>285207</c:v>
                </c:pt>
                <c:pt idx="444">
                  <c:v>285211</c:v>
                </c:pt>
                <c:pt idx="445">
                  <c:v>285217</c:v>
                </c:pt>
                <c:pt idx="446">
                  <c:v>285224</c:v>
                </c:pt>
                <c:pt idx="447">
                  <c:v>285232</c:v>
                </c:pt>
                <c:pt idx="448">
                  <c:v>285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I$1:$QO$1</c:f>
              <c:strCache>
                <c:ptCount val="449"/>
                <c:pt idx="0">
                  <c:v>27.XII.20</c:v>
                </c:pt>
                <c:pt idx="1">
                  <c:v>28.XII.20</c:v>
                </c:pt>
                <c:pt idx="2">
                  <c:v>29.XII.20</c:v>
                </c:pt>
                <c:pt idx="3">
                  <c:v>30.XII.20</c:v>
                </c:pt>
                <c:pt idx="4">
                  <c:v>31.XII.20</c:v>
                </c:pt>
                <c:pt idx="5">
                  <c:v>1.I.21</c:v>
                </c:pt>
                <c:pt idx="6">
                  <c:v>2.I.21</c:v>
                </c:pt>
                <c:pt idx="7">
                  <c:v>3.I.21</c:v>
                </c:pt>
                <c:pt idx="8">
                  <c:v>4.I.21</c:v>
                </c:pt>
                <c:pt idx="9">
                  <c:v>5.I.21</c:v>
                </c:pt>
                <c:pt idx="10">
                  <c:v>6.I.21</c:v>
                </c:pt>
                <c:pt idx="11">
                  <c:v>7.I.21</c:v>
                </c:pt>
                <c:pt idx="12">
                  <c:v>8.I.21</c:v>
                </c:pt>
                <c:pt idx="13">
                  <c:v>9.I.21</c:v>
                </c:pt>
                <c:pt idx="14">
                  <c:v>10.I.21</c:v>
                </c:pt>
                <c:pt idx="15">
                  <c:v>11.I.21</c:v>
                </c:pt>
                <c:pt idx="16">
                  <c:v>12.I.21</c:v>
                </c:pt>
                <c:pt idx="17">
                  <c:v>13.I.21</c:v>
                </c:pt>
                <c:pt idx="18">
                  <c:v>14.I.21</c:v>
                </c:pt>
                <c:pt idx="19">
                  <c:v>15.I.21</c:v>
                </c:pt>
                <c:pt idx="20">
                  <c:v>16.I.21</c:v>
                </c:pt>
                <c:pt idx="21">
                  <c:v>17.I.21</c:v>
                </c:pt>
                <c:pt idx="22">
                  <c:v>18.I.21</c:v>
                </c:pt>
                <c:pt idx="23">
                  <c:v>19.I.21</c:v>
                </c:pt>
                <c:pt idx="24">
                  <c:v>20.I.21</c:v>
                </c:pt>
                <c:pt idx="25">
                  <c:v>21.I.21</c:v>
                </c:pt>
                <c:pt idx="26">
                  <c:v>22.I.21</c:v>
                </c:pt>
                <c:pt idx="27">
                  <c:v>23.I.21</c:v>
                </c:pt>
                <c:pt idx="28">
                  <c:v>24.I.21</c:v>
                </c:pt>
                <c:pt idx="29">
                  <c:v>25.I.21</c:v>
                </c:pt>
                <c:pt idx="30">
                  <c:v>26.I.21</c:v>
                </c:pt>
                <c:pt idx="31">
                  <c:v>27.I.21</c:v>
                </c:pt>
                <c:pt idx="32">
                  <c:v>28.I.21</c:v>
                </c:pt>
                <c:pt idx="33">
                  <c:v>29.I.21</c:v>
                </c:pt>
                <c:pt idx="34">
                  <c:v>30.I.21</c:v>
                </c:pt>
                <c:pt idx="35">
                  <c:v>31.I.21</c:v>
                </c:pt>
                <c:pt idx="36">
                  <c:v>1.II.21</c:v>
                </c:pt>
                <c:pt idx="37">
                  <c:v>2.II.21</c:v>
                </c:pt>
                <c:pt idx="38">
                  <c:v>3.II.21</c:v>
                </c:pt>
                <c:pt idx="39">
                  <c:v>4.II.21</c:v>
                </c:pt>
                <c:pt idx="40">
                  <c:v>5.II.21</c:v>
                </c:pt>
                <c:pt idx="41">
                  <c:v>6.II.21</c:v>
                </c:pt>
                <c:pt idx="42">
                  <c:v>7.II.21</c:v>
                </c:pt>
                <c:pt idx="43">
                  <c:v>8.II.21</c:v>
                </c:pt>
                <c:pt idx="44">
                  <c:v>9.II.21</c:v>
                </c:pt>
                <c:pt idx="45">
                  <c:v>10.II.21</c:v>
                </c:pt>
                <c:pt idx="46">
                  <c:v>11.II.21</c:v>
                </c:pt>
                <c:pt idx="47">
                  <c:v>12.II.21</c:v>
                </c:pt>
                <c:pt idx="48">
                  <c:v>13.II.21</c:v>
                </c:pt>
                <c:pt idx="49">
                  <c:v>14.II.21</c:v>
                </c:pt>
                <c:pt idx="50">
                  <c:v>15.II.21</c:v>
                </c:pt>
                <c:pt idx="51">
                  <c:v>16.II.21</c:v>
                </c:pt>
                <c:pt idx="52">
                  <c:v>17.II.21</c:v>
                </c:pt>
                <c:pt idx="53">
                  <c:v>18.II.21</c:v>
                </c:pt>
                <c:pt idx="54">
                  <c:v>19.II.21</c:v>
                </c:pt>
                <c:pt idx="55">
                  <c:v>20.II.21</c:v>
                </c:pt>
                <c:pt idx="56">
                  <c:v>21.II.21</c:v>
                </c:pt>
                <c:pt idx="57">
                  <c:v>22.II.21</c:v>
                </c:pt>
                <c:pt idx="58">
                  <c:v>23.II.21</c:v>
                </c:pt>
                <c:pt idx="59">
                  <c:v>24.II.21</c:v>
                </c:pt>
                <c:pt idx="60">
                  <c:v>25.II.21</c:v>
                </c:pt>
                <c:pt idx="61">
                  <c:v>26.II.21</c:v>
                </c:pt>
                <c:pt idx="62">
                  <c:v>27.II.21</c:v>
                </c:pt>
                <c:pt idx="63">
                  <c:v>28.II.21</c:v>
                </c:pt>
                <c:pt idx="64">
                  <c:v>1.III.21</c:v>
                </c:pt>
                <c:pt idx="65">
                  <c:v>2.III.21</c:v>
                </c:pt>
                <c:pt idx="66">
                  <c:v>3.III.21</c:v>
                </c:pt>
                <c:pt idx="67">
                  <c:v>4.III.21</c:v>
                </c:pt>
                <c:pt idx="68">
                  <c:v>5.III.21</c:v>
                </c:pt>
                <c:pt idx="69">
                  <c:v>6.III.21</c:v>
                </c:pt>
                <c:pt idx="70">
                  <c:v>7.III.21</c:v>
                </c:pt>
                <c:pt idx="71">
                  <c:v>8.III.21</c:v>
                </c:pt>
                <c:pt idx="72">
                  <c:v>9.III.21</c:v>
                </c:pt>
                <c:pt idx="73">
                  <c:v>10.III.21</c:v>
                </c:pt>
                <c:pt idx="74">
                  <c:v>11.III.21</c:v>
                </c:pt>
                <c:pt idx="75">
                  <c:v>12.III.21</c:v>
                </c:pt>
                <c:pt idx="76">
                  <c:v>13.III.21</c:v>
                </c:pt>
                <c:pt idx="77">
                  <c:v>14.III.21</c:v>
                </c:pt>
                <c:pt idx="78">
                  <c:v>15.III.21</c:v>
                </c:pt>
                <c:pt idx="79">
                  <c:v>16.III.21</c:v>
                </c:pt>
                <c:pt idx="80">
                  <c:v>17.III.21</c:v>
                </c:pt>
                <c:pt idx="81">
                  <c:v>18.III.21</c:v>
                </c:pt>
                <c:pt idx="82">
                  <c:v>19.III.21</c:v>
                </c:pt>
                <c:pt idx="83">
                  <c:v>20.III.21</c:v>
                </c:pt>
                <c:pt idx="84">
                  <c:v>21.III.21</c:v>
                </c:pt>
                <c:pt idx="85">
                  <c:v>22.III.21</c:v>
                </c:pt>
                <c:pt idx="86">
                  <c:v>23.III.21</c:v>
                </c:pt>
                <c:pt idx="87">
                  <c:v>24.III.21</c:v>
                </c:pt>
                <c:pt idx="88">
                  <c:v>25.III.21</c:v>
                </c:pt>
                <c:pt idx="89">
                  <c:v>26.III.21</c:v>
                </c:pt>
                <c:pt idx="90">
                  <c:v>27.III.21</c:v>
                </c:pt>
                <c:pt idx="91">
                  <c:v>28.III.21</c:v>
                </c:pt>
                <c:pt idx="92">
                  <c:v>29.III.21</c:v>
                </c:pt>
                <c:pt idx="93">
                  <c:v>30.III.21</c:v>
                </c:pt>
                <c:pt idx="94">
                  <c:v>31.III.21</c:v>
                </c:pt>
                <c:pt idx="95">
                  <c:v>1.IV.21</c:v>
                </c:pt>
                <c:pt idx="96">
                  <c:v>2.IV.21</c:v>
                </c:pt>
                <c:pt idx="97">
                  <c:v>3.IV.21</c:v>
                </c:pt>
                <c:pt idx="98">
                  <c:v>4.IV.21</c:v>
                </c:pt>
                <c:pt idx="99">
                  <c:v>5.IV.21</c:v>
                </c:pt>
                <c:pt idx="100">
                  <c:v>6.IV.21</c:v>
                </c:pt>
                <c:pt idx="101">
                  <c:v>7.IV.21</c:v>
                </c:pt>
                <c:pt idx="102">
                  <c:v>8.IV.21</c:v>
                </c:pt>
                <c:pt idx="103">
                  <c:v>9.IV.21</c:v>
                </c:pt>
                <c:pt idx="104">
                  <c:v>10.IV.21</c:v>
                </c:pt>
                <c:pt idx="105">
                  <c:v>11.IV.21</c:v>
                </c:pt>
                <c:pt idx="106">
                  <c:v>12.IV.21</c:v>
                </c:pt>
                <c:pt idx="107">
                  <c:v>13.IV.21</c:v>
                </c:pt>
                <c:pt idx="108">
                  <c:v>14.IV.21</c:v>
                </c:pt>
                <c:pt idx="109">
                  <c:v>15.IV.21</c:v>
                </c:pt>
                <c:pt idx="110">
                  <c:v>16.IV.21</c:v>
                </c:pt>
                <c:pt idx="111">
                  <c:v>17.IV.21</c:v>
                </c:pt>
                <c:pt idx="112">
                  <c:v>18.IV.21</c:v>
                </c:pt>
                <c:pt idx="113">
                  <c:v>19.IV.21</c:v>
                </c:pt>
                <c:pt idx="114">
                  <c:v>20.IV.21</c:v>
                </c:pt>
                <c:pt idx="115">
                  <c:v>21.IV.21</c:v>
                </c:pt>
                <c:pt idx="116">
                  <c:v>22.IV.21</c:v>
                </c:pt>
                <c:pt idx="117">
                  <c:v>23.IV.21</c:v>
                </c:pt>
                <c:pt idx="118">
                  <c:v>24.IV.21</c:v>
                </c:pt>
                <c:pt idx="119">
                  <c:v>25.IV.21</c:v>
                </c:pt>
                <c:pt idx="120">
                  <c:v>26.IV.21</c:v>
                </c:pt>
                <c:pt idx="121">
                  <c:v>27.IV.21</c:v>
                </c:pt>
                <c:pt idx="122">
                  <c:v>28.IV.21</c:v>
                </c:pt>
                <c:pt idx="123">
                  <c:v>29.IV.21</c:v>
                </c:pt>
                <c:pt idx="124">
                  <c:v>30.IV.21</c:v>
                </c:pt>
                <c:pt idx="125">
                  <c:v>1.V.21</c:v>
                </c:pt>
                <c:pt idx="126">
                  <c:v>2.V.21</c:v>
                </c:pt>
                <c:pt idx="127">
                  <c:v>3.V.21</c:v>
                </c:pt>
                <c:pt idx="128">
                  <c:v>4.V.21</c:v>
                </c:pt>
                <c:pt idx="129">
                  <c:v>5.V.21</c:v>
                </c:pt>
                <c:pt idx="130">
                  <c:v>6.V.21</c:v>
                </c:pt>
                <c:pt idx="131">
                  <c:v>7.V.21</c:v>
                </c:pt>
                <c:pt idx="132">
                  <c:v>8.V.21</c:v>
                </c:pt>
                <c:pt idx="133">
                  <c:v>9.V.21</c:v>
                </c:pt>
                <c:pt idx="134">
                  <c:v>10.V.21</c:v>
                </c:pt>
                <c:pt idx="135">
                  <c:v>11.V.21</c:v>
                </c:pt>
                <c:pt idx="136">
                  <c:v>12.V.21</c:v>
                </c:pt>
                <c:pt idx="137">
                  <c:v>13.V.21</c:v>
                </c:pt>
                <c:pt idx="138">
                  <c:v>14.V.21</c:v>
                </c:pt>
                <c:pt idx="139">
                  <c:v>15.V.21</c:v>
                </c:pt>
                <c:pt idx="140">
                  <c:v>16.V.21</c:v>
                </c:pt>
                <c:pt idx="141">
                  <c:v>17.V.21</c:v>
                </c:pt>
                <c:pt idx="142">
                  <c:v>18.V.21</c:v>
                </c:pt>
                <c:pt idx="143">
                  <c:v>19.V.21</c:v>
                </c:pt>
                <c:pt idx="144">
                  <c:v>20.V.21</c:v>
                </c:pt>
                <c:pt idx="145">
                  <c:v>21.V.21</c:v>
                </c:pt>
                <c:pt idx="146">
                  <c:v>22.V.21</c:v>
                </c:pt>
                <c:pt idx="147">
                  <c:v>23.V.21</c:v>
                </c:pt>
                <c:pt idx="148">
                  <c:v>24.V.21</c:v>
                </c:pt>
                <c:pt idx="149">
                  <c:v>25.V.21</c:v>
                </c:pt>
                <c:pt idx="150">
                  <c:v>26.V.21</c:v>
                </c:pt>
                <c:pt idx="151">
                  <c:v>27.V.21</c:v>
                </c:pt>
                <c:pt idx="152">
                  <c:v>28.V.21</c:v>
                </c:pt>
                <c:pt idx="153">
                  <c:v>29.V.21</c:v>
                </c:pt>
                <c:pt idx="154">
                  <c:v>30.V.21</c:v>
                </c:pt>
                <c:pt idx="155">
                  <c:v>31.V.21</c:v>
                </c:pt>
                <c:pt idx="156">
                  <c:v>1.VI.21</c:v>
                </c:pt>
                <c:pt idx="157">
                  <c:v>2.VI.21</c:v>
                </c:pt>
                <c:pt idx="158">
                  <c:v>3.VI.21</c:v>
                </c:pt>
                <c:pt idx="159">
                  <c:v>4.VI.21</c:v>
                </c:pt>
                <c:pt idx="160">
                  <c:v>5.VI.21</c:v>
                </c:pt>
                <c:pt idx="161">
                  <c:v>6.VI.21</c:v>
                </c:pt>
                <c:pt idx="162">
                  <c:v>7.VI.21</c:v>
                </c:pt>
                <c:pt idx="163">
                  <c:v>8.VI.21</c:v>
                </c:pt>
                <c:pt idx="164">
                  <c:v>9.VI.21</c:v>
                </c:pt>
                <c:pt idx="165">
                  <c:v>10.VI.21</c:v>
                </c:pt>
                <c:pt idx="166">
                  <c:v>11.VI.21</c:v>
                </c:pt>
                <c:pt idx="167">
                  <c:v>12.VI.21</c:v>
                </c:pt>
                <c:pt idx="168">
                  <c:v>13.VI.21</c:v>
                </c:pt>
                <c:pt idx="169">
                  <c:v>14.VI.21</c:v>
                </c:pt>
                <c:pt idx="170">
                  <c:v>15.VI.21</c:v>
                </c:pt>
                <c:pt idx="171">
                  <c:v>16.VI.21</c:v>
                </c:pt>
                <c:pt idx="172">
                  <c:v>17.VI.21</c:v>
                </c:pt>
                <c:pt idx="173">
                  <c:v>18.VI.21</c:v>
                </c:pt>
                <c:pt idx="174">
                  <c:v>19.VI.21</c:v>
                </c:pt>
                <c:pt idx="175">
                  <c:v>20.VI.21</c:v>
                </c:pt>
                <c:pt idx="176">
                  <c:v>21.VI.21</c:v>
                </c:pt>
                <c:pt idx="177">
                  <c:v>22.VI.21</c:v>
                </c:pt>
                <c:pt idx="178">
                  <c:v>23.VI.21</c:v>
                </c:pt>
                <c:pt idx="179">
                  <c:v>24.VI.21</c:v>
                </c:pt>
                <c:pt idx="180">
                  <c:v>25.VI.21</c:v>
                </c:pt>
                <c:pt idx="181">
                  <c:v>26.VI.21</c:v>
                </c:pt>
                <c:pt idx="182">
                  <c:v>27.VI.21</c:v>
                </c:pt>
                <c:pt idx="183">
                  <c:v>28.VI.21</c:v>
                </c:pt>
                <c:pt idx="184">
                  <c:v>29.VI.21</c:v>
                </c:pt>
                <c:pt idx="185">
                  <c:v>30.VI.21</c:v>
                </c:pt>
                <c:pt idx="186">
                  <c:v>1.VII.21</c:v>
                </c:pt>
                <c:pt idx="187">
                  <c:v>2.VII.21</c:v>
                </c:pt>
                <c:pt idx="188">
                  <c:v>3.VII.21</c:v>
                </c:pt>
                <c:pt idx="189">
                  <c:v>4.VII.21</c:v>
                </c:pt>
                <c:pt idx="190">
                  <c:v>5.VII.21</c:v>
                </c:pt>
                <c:pt idx="191">
                  <c:v>6.VII.21</c:v>
                </c:pt>
                <c:pt idx="192">
                  <c:v>7.VII.21</c:v>
                </c:pt>
                <c:pt idx="193">
                  <c:v>8.VII.21</c:v>
                </c:pt>
                <c:pt idx="194">
                  <c:v>9.VII.21</c:v>
                </c:pt>
                <c:pt idx="195">
                  <c:v>10.VII.21</c:v>
                </c:pt>
                <c:pt idx="196">
                  <c:v>11.VII.21</c:v>
                </c:pt>
                <c:pt idx="197">
                  <c:v>12.VII.21</c:v>
                </c:pt>
                <c:pt idx="198">
                  <c:v>13.VII.21</c:v>
                </c:pt>
                <c:pt idx="199">
                  <c:v>14.VII.21</c:v>
                </c:pt>
                <c:pt idx="200">
                  <c:v>15.VII.21</c:v>
                </c:pt>
                <c:pt idx="201">
                  <c:v>16.VII.21</c:v>
                </c:pt>
                <c:pt idx="202">
                  <c:v>17.VII.21</c:v>
                </c:pt>
                <c:pt idx="203">
                  <c:v>18.VII.21</c:v>
                </c:pt>
                <c:pt idx="204">
                  <c:v>19.VII.21</c:v>
                </c:pt>
                <c:pt idx="205">
                  <c:v>20.VII.21</c:v>
                </c:pt>
                <c:pt idx="206">
                  <c:v>21.VII.21</c:v>
                </c:pt>
                <c:pt idx="207">
                  <c:v>22.VII.21</c:v>
                </c:pt>
                <c:pt idx="208">
                  <c:v>23.VII.21</c:v>
                </c:pt>
                <c:pt idx="209">
                  <c:v>24.VII.21</c:v>
                </c:pt>
                <c:pt idx="210">
                  <c:v>25.VII.21</c:v>
                </c:pt>
                <c:pt idx="211">
                  <c:v>26.VII.21</c:v>
                </c:pt>
                <c:pt idx="212">
                  <c:v>27.VII.21</c:v>
                </c:pt>
                <c:pt idx="213">
                  <c:v>28.VII.21</c:v>
                </c:pt>
                <c:pt idx="214">
                  <c:v>29.VII.21</c:v>
                </c:pt>
                <c:pt idx="215">
                  <c:v>30.VII.21</c:v>
                </c:pt>
                <c:pt idx="216">
                  <c:v>31.VII.21</c:v>
                </c:pt>
                <c:pt idx="217">
                  <c:v>1.VIII.21</c:v>
                </c:pt>
                <c:pt idx="218">
                  <c:v>2.VIII.21</c:v>
                </c:pt>
                <c:pt idx="219">
                  <c:v>3.VIII.21</c:v>
                </c:pt>
                <c:pt idx="220">
                  <c:v>4.VIII.21</c:v>
                </c:pt>
                <c:pt idx="221">
                  <c:v>5.VIII.21</c:v>
                </c:pt>
                <c:pt idx="222">
                  <c:v>6.VIII.21</c:v>
                </c:pt>
                <c:pt idx="223">
                  <c:v>7.VIII.21</c:v>
                </c:pt>
                <c:pt idx="224">
                  <c:v>8.VIII.21</c:v>
                </c:pt>
                <c:pt idx="225">
                  <c:v>9.VIII.21</c:v>
                </c:pt>
                <c:pt idx="226">
                  <c:v>10.VIII.21</c:v>
                </c:pt>
                <c:pt idx="227">
                  <c:v>11.VIII.21</c:v>
                </c:pt>
                <c:pt idx="228">
                  <c:v>12.VIII.21</c:v>
                </c:pt>
                <c:pt idx="229">
                  <c:v>13.VIII.21</c:v>
                </c:pt>
                <c:pt idx="230">
                  <c:v>14.VIII.21</c:v>
                </c:pt>
                <c:pt idx="231">
                  <c:v>15.VIII.21</c:v>
                </c:pt>
                <c:pt idx="232">
                  <c:v>16.VIII.21</c:v>
                </c:pt>
                <c:pt idx="233">
                  <c:v>17.VIII.21</c:v>
                </c:pt>
                <c:pt idx="234">
                  <c:v>18.VIII.21</c:v>
                </c:pt>
                <c:pt idx="235">
                  <c:v>19.VIII.21</c:v>
                </c:pt>
                <c:pt idx="236">
                  <c:v>20.VIII.21</c:v>
                </c:pt>
                <c:pt idx="237">
                  <c:v>21.VIII.21</c:v>
                </c:pt>
                <c:pt idx="238">
                  <c:v>22.VIII.21</c:v>
                </c:pt>
                <c:pt idx="239">
                  <c:v>23.VIII.21</c:v>
                </c:pt>
                <c:pt idx="240">
                  <c:v>24.VIII.21</c:v>
                </c:pt>
                <c:pt idx="241">
                  <c:v>25.VIII.21</c:v>
                </c:pt>
                <c:pt idx="242">
                  <c:v>26.VIII.21</c:v>
                </c:pt>
                <c:pt idx="243">
                  <c:v>27.VIII.21</c:v>
                </c:pt>
                <c:pt idx="244">
                  <c:v>28.VIII.21</c:v>
                </c:pt>
                <c:pt idx="245">
                  <c:v>29.VIII.21</c:v>
                </c:pt>
                <c:pt idx="246">
                  <c:v>30.VIII.21</c:v>
                </c:pt>
                <c:pt idx="247">
                  <c:v>31.VIII.21</c:v>
                </c:pt>
                <c:pt idx="248">
                  <c:v>1.IX.21</c:v>
                </c:pt>
                <c:pt idx="249">
                  <c:v>2.IX.21</c:v>
                </c:pt>
                <c:pt idx="250">
                  <c:v>3.IX.21</c:v>
                </c:pt>
                <c:pt idx="251">
                  <c:v>4.IX.21</c:v>
                </c:pt>
                <c:pt idx="252">
                  <c:v>5.IX.21</c:v>
                </c:pt>
                <c:pt idx="253">
                  <c:v>6.IX.21</c:v>
                </c:pt>
                <c:pt idx="254">
                  <c:v>7.IX.21</c:v>
                </c:pt>
                <c:pt idx="255">
                  <c:v>8.IX.21</c:v>
                </c:pt>
                <c:pt idx="256">
                  <c:v>9.IX.21</c:v>
                </c:pt>
                <c:pt idx="257">
                  <c:v>10.IX.21</c:v>
                </c:pt>
                <c:pt idx="258">
                  <c:v>11.IX.21</c:v>
                </c:pt>
                <c:pt idx="259">
                  <c:v>12.IX.21</c:v>
                </c:pt>
                <c:pt idx="260">
                  <c:v>13.IX.21</c:v>
                </c:pt>
                <c:pt idx="261">
                  <c:v>14.IX.21</c:v>
                </c:pt>
                <c:pt idx="262">
                  <c:v>15.IX.21</c:v>
                </c:pt>
                <c:pt idx="263">
                  <c:v>16.IX.21</c:v>
                </c:pt>
                <c:pt idx="264">
                  <c:v>17.IX.21</c:v>
                </c:pt>
                <c:pt idx="265">
                  <c:v>18.IX.21</c:v>
                </c:pt>
                <c:pt idx="266">
                  <c:v>19.IX.21</c:v>
                </c:pt>
                <c:pt idx="267">
                  <c:v>20.IX.21</c:v>
                </c:pt>
                <c:pt idx="268">
                  <c:v>21.IX.21</c:v>
                </c:pt>
                <c:pt idx="269">
                  <c:v>22.IX.21</c:v>
                </c:pt>
                <c:pt idx="270">
                  <c:v>23.IX.21</c:v>
                </c:pt>
                <c:pt idx="271">
                  <c:v>24.IX.21</c:v>
                </c:pt>
                <c:pt idx="272">
                  <c:v>25.IX.21</c:v>
                </c:pt>
                <c:pt idx="273">
                  <c:v>26.IX.21</c:v>
                </c:pt>
                <c:pt idx="274">
                  <c:v>27.IX.21</c:v>
                </c:pt>
                <c:pt idx="275">
                  <c:v>28.IX.21</c:v>
                </c:pt>
                <c:pt idx="276">
                  <c:v>29.IX.21</c:v>
                </c:pt>
                <c:pt idx="277">
                  <c:v>30.IX.21</c:v>
                </c:pt>
                <c:pt idx="278">
                  <c:v>1.X.21</c:v>
                </c:pt>
                <c:pt idx="279">
                  <c:v>2.X.21</c:v>
                </c:pt>
                <c:pt idx="280">
                  <c:v>3.X.21</c:v>
                </c:pt>
                <c:pt idx="281">
                  <c:v>4.X.21</c:v>
                </c:pt>
                <c:pt idx="282">
                  <c:v>5.X.21</c:v>
                </c:pt>
                <c:pt idx="283">
                  <c:v>6.X.21</c:v>
                </c:pt>
                <c:pt idx="284">
                  <c:v>7.X.21</c:v>
                </c:pt>
                <c:pt idx="285">
                  <c:v>8.X.21</c:v>
                </c:pt>
                <c:pt idx="286">
                  <c:v>9.X.21</c:v>
                </c:pt>
                <c:pt idx="287">
                  <c:v>10.X.21</c:v>
                </c:pt>
                <c:pt idx="288">
                  <c:v>11.X.21</c:v>
                </c:pt>
                <c:pt idx="289">
                  <c:v>12.X.21</c:v>
                </c:pt>
                <c:pt idx="290">
                  <c:v>13.X.21</c:v>
                </c:pt>
                <c:pt idx="291">
                  <c:v>14.X.21</c:v>
                </c:pt>
                <c:pt idx="292">
                  <c:v>15.X.21</c:v>
                </c:pt>
                <c:pt idx="293">
                  <c:v>16.X.21</c:v>
                </c:pt>
                <c:pt idx="294">
                  <c:v>17.X.21</c:v>
                </c:pt>
                <c:pt idx="295">
                  <c:v>18.X.21</c:v>
                </c:pt>
                <c:pt idx="296">
                  <c:v>19.X.21</c:v>
                </c:pt>
                <c:pt idx="297">
                  <c:v>20.X.21</c:v>
                </c:pt>
                <c:pt idx="298">
                  <c:v>21.X.21</c:v>
                </c:pt>
                <c:pt idx="299">
                  <c:v>22.X.21</c:v>
                </c:pt>
                <c:pt idx="300">
                  <c:v>23.X.21</c:v>
                </c:pt>
                <c:pt idx="301">
                  <c:v>24.X.21</c:v>
                </c:pt>
                <c:pt idx="302">
                  <c:v>25.X.21</c:v>
                </c:pt>
                <c:pt idx="303">
                  <c:v>26.X.21</c:v>
                </c:pt>
                <c:pt idx="304">
                  <c:v>27.X.21</c:v>
                </c:pt>
                <c:pt idx="305">
                  <c:v>28.X.21</c:v>
                </c:pt>
                <c:pt idx="306">
                  <c:v>29.X.21</c:v>
                </c:pt>
                <c:pt idx="307">
                  <c:v>30.X.21</c:v>
                </c:pt>
                <c:pt idx="308">
                  <c:v>31.X.21</c:v>
                </c:pt>
                <c:pt idx="309">
                  <c:v>1.XI.21</c:v>
                </c:pt>
                <c:pt idx="310">
                  <c:v>2.XI.21</c:v>
                </c:pt>
                <c:pt idx="311">
                  <c:v>3.XI.21</c:v>
                </c:pt>
                <c:pt idx="312">
                  <c:v>4.XI.21</c:v>
                </c:pt>
                <c:pt idx="313">
                  <c:v>5.XI.21</c:v>
                </c:pt>
                <c:pt idx="314">
                  <c:v>6.XI.21</c:v>
                </c:pt>
                <c:pt idx="315">
                  <c:v>7.XI.21</c:v>
                </c:pt>
                <c:pt idx="316">
                  <c:v>8.XI.21</c:v>
                </c:pt>
                <c:pt idx="317">
                  <c:v>9.XI.21</c:v>
                </c:pt>
                <c:pt idx="318">
                  <c:v>10.XI.21</c:v>
                </c:pt>
                <c:pt idx="319">
                  <c:v>11.XI.21</c:v>
                </c:pt>
                <c:pt idx="320">
                  <c:v>12.XI.21</c:v>
                </c:pt>
                <c:pt idx="321">
                  <c:v>13.XI.21</c:v>
                </c:pt>
                <c:pt idx="322">
                  <c:v>14.XI.21</c:v>
                </c:pt>
                <c:pt idx="323">
                  <c:v>15.XI.21</c:v>
                </c:pt>
                <c:pt idx="324">
                  <c:v>16.XI.21</c:v>
                </c:pt>
                <c:pt idx="325">
                  <c:v>17.XI.21</c:v>
                </c:pt>
                <c:pt idx="326">
                  <c:v>18.XI.21</c:v>
                </c:pt>
                <c:pt idx="327">
                  <c:v>19.XI.21</c:v>
                </c:pt>
                <c:pt idx="328">
                  <c:v>20.XI.21</c:v>
                </c:pt>
                <c:pt idx="329">
                  <c:v>21.XI.21</c:v>
                </c:pt>
                <c:pt idx="330">
                  <c:v>22.XI.21</c:v>
                </c:pt>
                <c:pt idx="331">
                  <c:v>23.XI.21</c:v>
                </c:pt>
                <c:pt idx="332">
                  <c:v>24.XI.21</c:v>
                </c:pt>
                <c:pt idx="333">
                  <c:v>25.XI.21</c:v>
                </c:pt>
                <c:pt idx="334">
                  <c:v>26.XI.21</c:v>
                </c:pt>
                <c:pt idx="335">
                  <c:v>27.XI.21</c:v>
                </c:pt>
                <c:pt idx="336">
                  <c:v>28.XI.21</c:v>
                </c:pt>
                <c:pt idx="337">
                  <c:v>29.XI.21</c:v>
                </c:pt>
                <c:pt idx="338">
                  <c:v>30.XI.21</c:v>
                </c:pt>
                <c:pt idx="339">
                  <c:v>1.XII.21</c:v>
                </c:pt>
                <c:pt idx="340">
                  <c:v>2.XII.21</c:v>
                </c:pt>
                <c:pt idx="341">
                  <c:v>3.XII.21</c:v>
                </c:pt>
                <c:pt idx="342">
                  <c:v>4.XII.21</c:v>
                </c:pt>
                <c:pt idx="343">
                  <c:v>5.XII.21</c:v>
                </c:pt>
                <c:pt idx="344">
                  <c:v>6.XII.21</c:v>
                </c:pt>
                <c:pt idx="345">
                  <c:v>7.XII.21</c:v>
                </c:pt>
                <c:pt idx="346">
                  <c:v>8.XII.21</c:v>
                </c:pt>
                <c:pt idx="347">
                  <c:v>9.XII.21</c:v>
                </c:pt>
                <c:pt idx="348">
                  <c:v>10.XII.21</c:v>
                </c:pt>
                <c:pt idx="349">
                  <c:v>11.XII.21</c:v>
                </c:pt>
                <c:pt idx="350">
                  <c:v>12.XII.21</c:v>
                </c:pt>
                <c:pt idx="351">
                  <c:v>13.XII.21</c:v>
                </c:pt>
                <c:pt idx="352">
                  <c:v>14.XII.21</c:v>
                </c:pt>
                <c:pt idx="353">
                  <c:v>15.XII.21</c:v>
                </c:pt>
                <c:pt idx="354">
                  <c:v>16.XII.21</c:v>
                </c:pt>
                <c:pt idx="355">
                  <c:v>17.XII.21</c:v>
                </c:pt>
                <c:pt idx="356">
                  <c:v>18.XII.21</c:v>
                </c:pt>
                <c:pt idx="357">
                  <c:v>19.XII.21</c:v>
                </c:pt>
                <c:pt idx="358">
                  <c:v>20.XII.21</c:v>
                </c:pt>
                <c:pt idx="359">
                  <c:v>21.XII.21</c:v>
                </c:pt>
                <c:pt idx="360">
                  <c:v>22.XII.21</c:v>
                </c:pt>
                <c:pt idx="361">
                  <c:v>23.XII.21</c:v>
                </c:pt>
                <c:pt idx="362">
                  <c:v>24.XII.21</c:v>
                </c:pt>
                <c:pt idx="363">
                  <c:v>27.XII.21</c:v>
                </c:pt>
                <c:pt idx="364">
                  <c:v>28.XII.21</c:v>
                </c:pt>
                <c:pt idx="365">
                  <c:v>29.XII.21</c:v>
                </c:pt>
                <c:pt idx="366">
                  <c:v>30.XII.21</c:v>
                </c:pt>
                <c:pt idx="367">
                  <c:v>31.XII.21</c:v>
                </c:pt>
                <c:pt idx="368">
                  <c:v>2.I.22</c:v>
                </c:pt>
                <c:pt idx="369">
                  <c:v>3.I.22</c:v>
                </c:pt>
                <c:pt idx="370">
                  <c:v>4.I.22</c:v>
                </c:pt>
                <c:pt idx="371">
                  <c:v>5.I.22</c:v>
                </c:pt>
                <c:pt idx="372">
                  <c:v>6.I.22</c:v>
                </c:pt>
                <c:pt idx="373">
                  <c:v>7.I.22</c:v>
                </c:pt>
                <c:pt idx="374">
                  <c:v>8.I.22</c:v>
                </c:pt>
                <c:pt idx="375">
                  <c:v>9.I.22</c:v>
                </c:pt>
                <c:pt idx="376">
                  <c:v>10.I.22</c:v>
                </c:pt>
                <c:pt idx="377">
                  <c:v>11.I.22</c:v>
                </c:pt>
                <c:pt idx="378">
                  <c:v>12.I.22</c:v>
                </c:pt>
                <c:pt idx="379">
                  <c:v>13.I.22</c:v>
                </c:pt>
                <c:pt idx="380">
                  <c:v>14.I.22</c:v>
                </c:pt>
                <c:pt idx="381">
                  <c:v>15.I.22</c:v>
                </c:pt>
                <c:pt idx="382">
                  <c:v>16.I.22</c:v>
                </c:pt>
                <c:pt idx="383">
                  <c:v>17.I.22</c:v>
                </c:pt>
                <c:pt idx="384">
                  <c:v>18.I.22</c:v>
                </c:pt>
                <c:pt idx="385">
                  <c:v>19.I.22</c:v>
                </c:pt>
                <c:pt idx="386">
                  <c:v>20.I.22</c:v>
                </c:pt>
                <c:pt idx="387">
                  <c:v>21.I.22</c:v>
                </c:pt>
                <c:pt idx="388">
                  <c:v>22.I.22</c:v>
                </c:pt>
                <c:pt idx="389">
                  <c:v>23.I.22</c:v>
                </c:pt>
                <c:pt idx="390">
                  <c:v>24.I.22</c:v>
                </c:pt>
                <c:pt idx="391">
                  <c:v>25.I.22</c:v>
                </c:pt>
                <c:pt idx="392">
                  <c:v>26.I.22</c:v>
                </c:pt>
                <c:pt idx="393">
                  <c:v>27.I.22</c:v>
                </c:pt>
                <c:pt idx="394">
                  <c:v>28.I.22</c:v>
                </c:pt>
                <c:pt idx="395">
                  <c:v>29.I.22</c:v>
                </c:pt>
                <c:pt idx="396">
                  <c:v>30.I.22</c:v>
                </c:pt>
                <c:pt idx="397">
                  <c:v>31.I.22</c:v>
                </c:pt>
                <c:pt idx="398">
                  <c:v>1.II.22</c:v>
                </c:pt>
                <c:pt idx="399">
                  <c:v>2.II.22</c:v>
                </c:pt>
                <c:pt idx="400">
                  <c:v>3.II.22</c:v>
                </c:pt>
                <c:pt idx="401">
                  <c:v>4.II.22</c:v>
                </c:pt>
                <c:pt idx="402">
                  <c:v>5.II.22</c:v>
                </c:pt>
                <c:pt idx="403">
                  <c:v>6.II.22</c:v>
                </c:pt>
                <c:pt idx="404">
                  <c:v>7.II.22</c:v>
                </c:pt>
                <c:pt idx="405">
                  <c:v>8.II.22</c:v>
                </c:pt>
                <c:pt idx="406">
                  <c:v>9.II.22</c:v>
                </c:pt>
                <c:pt idx="407">
                  <c:v>10.II.22</c:v>
                </c:pt>
                <c:pt idx="408">
                  <c:v>11.II.22</c:v>
                </c:pt>
                <c:pt idx="409">
                  <c:v>12.II.22</c:v>
                </c:pt>
                <c:pt idx="410">
                  <c:v>14.II.22</c:v>
                </c:pt>
                <c:pt idx="411">
                  <c:v>15.II.22</c:v>
                </c:pt>
                <c:pt idx="412">
                  <c:v>16.II.22</c:v>
                </c:pt>
                <c:pt idx="413">
                  <c:v>17.II.22</c:v>
                </c:pt>
                <c:pt idx="414">
                  <c:v>18.II.22</c:v>
                </c:pt>
                <c:pt idx="415">
                  <c:v>19.II.22</c:v>
                </c:pt>
                <c:pt idx="416">
                  <c:v>21.II.22</c:v>
                </c:pt>
                <c:pt idx="417">
                  <c:v>22.II.22</c:v>
                </c:pt>
                <c:pt idx="418">
                  <c:v>23.II.22</c:v>
                </c:pt>
                <c:pt idx="419">
                  <c:v>24.II.22</c:v>
                </c:pt>
                <c:pt idx="420">
                  <c:v>25.II.22</c:v>
                </c:pt>
                <c:pt idx="421">
                  <c:v>28.II.22</c:v>
                </c:pt>
                <c:pt idx="422">
                  <c:v>1.III.22</c:v>
                </c:pt>
                <c:pt idx="423">
                  <c:v>2.III.22</c:v>
                </c:pt>
                <c:pt idx="424">
                  <c:v>3.III.22</c:v>
                </c:pt>
                <c:pt idx="425">
                  <c:v>4.III.22</c:v>
                </c:pt>
                <c:pt idx="426">
                  <c:v>5.III.22</c:v>
                </c:pt>
                <c:pt idx="427">
                  <c:v>7.III.22</c:v>
                </c:pt>
                <c:pt idx="428">
                  <c:v>8.III.22</c:v>
                </c:pt>
                <c:pt idx="429">
                  <c:v>9.III.22</c:v>
                </c:pt>
                <c:pt idx="430">
                  <c:v>10.III.22</c:v>
                </c:pt>
                <c:pt idx="431">
                  <c:v>11.III.22</c:v>
                </c:pt>
                <c:pt idx="432">
                  <c:v>12.III.22</c:v>
                </c:pt>
                <c:pt idx="433">
                  <c:v>14.III.22</c:v>
                </c:pt>
                <c:pt idx="434">
                  <c:v>15.III.22</c:v>
                </c:pt>
                <c:pt idx="435">
                  <c:v>16.III.22</c:v>
                </c:pt>
                <c:pt idx="436">
                  <c:v>17.III.22</c:v>
                </c:pt>
                <c:pt idx="437">
                  <c:v>18.III.22</c:v>
                </c:pt>
                <c:pt idx="438">
                  <c:v>21.III.22</c:v>
                </c:pt>
                <c:pt idx="439">
                  <c:v>22.III.22</c:v>
                </c:pt>
                <c:pt idx="440">
                  <c:v>23.III.22</c:v>
                </c:pt>
                <c:pt idx="441">
                  <c:v>24.III.22</c:v>
                </c:pt>
                <c:pt idx="442">
                  <c:v>25.III.22</c:v>
                </c:pt>
                <c:pt idx="443">
                  <c:v>26.III.22</c:v>
                </c:pt>
                <c:pt idx="444">
                  <c:v>28.III.22</c:v>
                </c:pt>
                <c:pt idx="445">
                  <c:v>29.III.22</c:v>
                </c:pt>
                <c:pt idx="446">
                  <c:v>30.III.22</c:v>
                </c:pt>
                <c:pt idx="447">
                  <c:v>31.III.22</c:v>
                </c:pt>
                <c:pt idx="448">
                  <c:v>1.IV.22</c:v>
                </c:pt>
              </c:strCache>
            </c:strRef>
          </c:cat>
          <c:val>
            <c:numRef>
              <c:f>List1!$I$3:$QO$3</c:f>
              <c:numCache>
                <c:formatCode>General</c:formatCode>
                <c:ptCount val="449"/>
                <c:pt idx="0">
                  <c:v>409</c:v>
                </c:pt>
                <c:pt idx="1">
                  <c:v>1122</c:v>
                </c:pt>
                <c:pt idx="2">
                  <c:v>2231</c:v>
                </c:pt>
                <c:pt idx="3">
                  <c:v>3367</c:v>
                </c:pt>
                <c:pt idx="4">
                  <c:v>3747</c:v>
                </c:pt>
                <c:pt idx="5">
                  <c:v>3865</c:v>
                </c:pt>
                <c:pt idx="6">
                  <c:v>4346</c:v>
                </c:pt>
                <c:pt idx="7">
                  <c:v>4664</c:v>
                </c:pt>
                <c:pt idx="8">
                  <c:v>6009</c:v>
                </c:pt>
                <c:pt idx="9">
                  <c:v>7652</c:v>
                </c:pt>
                <c:pt idx="10">
                  <c:v>9664</c:v>
                </c:pt>
                <c:pt idx="11">
                  <c:v>12219</c:v>
                </c:pt>
                <c:pt idx="12">
                  <c:v>15350</c:v>
                </c:pt>
                <c:pt idx="13">
                  <c:v>15796</c:v>
                </c:pt>
                <c:pt idx="14">
                  <c:v>16152</c:v>
                </c:pt>
                <c:pt idx="15">
                  <c:v>18950</c:v>
                </c:pt>
                <c:pt idx="16">
                  <c:v>22140</c:v>
                </c:pt>
                <c:pt idx="17">
                  <c:v>25008</c:v>
                </c:pt>
                <c:pt idx="18">
                  <c:v>28198</c:v>
                </c:pt>
                <c:pt idx="19">
                  <c:v>30980</c:v>
                </c:pt>
                <c:pt idx="20">
                  <c:v>31361</c:v>
                </c:pt>
                <c:pt idx="21">
                  <c:v>31588</c:v>
                </c:pt>
                <c:pt idx="22">
                  <c:v>33542</c:v>
                </c:pt>
                <c:pt idx="23">
                  <c:v>35230</c:v>
                </c:pt>
                <c:pt idx="24">
                  <c:v>36879</c:v>
                </c:pt>
                <c:pt idx="25">
                  <c:v>38414</c:v>
                </c:pt>
                <c:pt idx="26">
                  <c:v>39724</c:v>
                </c:pt>
                <c:pt idx="27">
                  <c:v>39880</c:v>
                </c:pt>
                <c:pt idx="28">
                  <c:v>39989</c:v>
                </c:pt>
                <c:pt idx="29">
                  <c:v>40634</c:v>
                </c:pt>
                <c:pt idx="30">
                  <c:v>41408</c:v>
                </c:pt>
                <c:pt idx="31">
                  <c:v>42061</c:v>
                </c:pt>
                <c:pt idx="32">
                  <c:v>42669</c:v>
                </c:pt>
                <c:pt idx="33">
                  <c:v>43233</c:v>
                </c:pt>
                <c:pt idx="34">
                  <c:v>43255</c:v>
                </c:pt>
                <c:pt idx="35">
                  <c:v>43273</c:v>
                </c:pt>
                <c:pt idx="36">
                  <c:v>43631</c:v>
                </c:pt>
                <c:pt idx="37">
                  <c:v>43973</c:v>
                </c:pt>
                <c:pt idx="38">
                  <c:v>44334</c:v>
                </c:pt>
                <c:pt idx="39">
                  <c:v>44664</c:v>
                </c:pt>
                <c:pt idx="40">
                  <c:v>45082</c:v>
                </c:pt>
                <c:pt idx="41">
                  <c:v>45104</c:v>
                </c:pt>
                <c:pt idx="42">
                  <c:v>45125</c:v>
                </c:pt>
                <c:pt idx="43">
                  <c:v>45394</c:v>
                </c:pt>
                <c:pt idx="44">
                  <c:v>45716</c:v>
                </c:pt>
                <c:pt idx="45">
                  <c:v>46118</c:v>
                </c:pt>
                <c:pt idx="46">
                  <c:v>46590</c:v>
                </c:pt>
                <c:pt idx="47">
                  <c:v>47122</c:v>
                </c:pt>
                <c:pt idx="48">
                  <c:v>47296</c:v>
                </c:pt>
                <c:pt idx="49">
                  <c:v>47350</c:v>
                </c:pt>
                <c:pt idx="50">
                  <c:v>47901</c:v>
                </c:pt>
                <c:pt idx="51">
                  <c:v>48389</c:v>
                </c:pt>
                <c:pt idx="52">
                  <c:v>48959</c:v>
                </c:pt>
                <c:pt idx="53">
                  <c:v>49628</c:v>
                </c:pt>
                <c:pt idx="54">
                  <c:v>50385</c:v>
                </c:pt>
                <c:pt idx="55">
                  <c:v>50515</c:v>
                </c:pt>
                <c:pt idx="56">
                  <c:v>50574</c:v>
                </c:pt>
                <c:pt idx="57">
                  <c:v>51171</c:v>
                </c:pt>
                <c:pt idx="58">
                  <c:v>51986</c:v>
                </c:pt>
                <c:pt idx="59">
                  <c:v>52810</c:v>
                </c:pt>
                <c:pt idx="60">
                  <c:v>54036</c:v>
                </c:pt>
                <c:pt idx="61">
                  <c:v>55026</c:v>
                </c:pt>
                <c:pt idx="62">
                  <c:v>55101</c:v>
                </c:pt>
                <c:pt idx="63">
                  <c:v>55149</c:v>
                </c:pt>
                <c:pt idx="64">
                  <c:v>56037</c:v>
                </c:pt>
                <c:pt idx="65">
                  <c:v>56989</c:v>
                </c:pt>
                <c:pt idx="66">
                  <c:v>57985</c:v>
                </c:pt>
                <c:pt idx="67">
                  <c:v>58895</c:v>
                </c:pt>
                <c:pt idx="68">
                  <c:v>60083</c:v>
                </c:pt>
                <c:pt idx="69">
                  <c:v>60333</c:v>
                </c:pt>
                <c:pt idx="70">
                  <c:v>60524</c:v>
                </c:pt>
                <c:pt idx="71">
                  <c:v>61302</c:v>
                </c:pt>
                <c:pt idx="72">
                  <c:v>62229</c:v>
                </c:pt>
                <c:pt idx="73">
                  <c:v>63177</c:v>
                </c:pt>
                <c:pt idx="74">
                  <c:v>64504</c:v>
                </c:pt>
                <c:pt idx="75">
                  <c:v>65609</c:v>
                </c:pt>
                <c:pt idx="76">
                  <c:v>65845</c:v>
                </c:pt>
                <c:pt idx="77">
                  <c:v>66088</c:v>
                </c:pt>
                <c:pt idx="78">
                  <c:v>66791</c:v>
                </c:pt>
                <c:pt idx="79">
                  <c:v>67832</c:v>
                </c:pt>
                <c:pt idx="80">
                  <c:v>68853</c:v>
                </c:pt>
                <c:pt idx="81">
                  <c:v>69748</c:v>
                </c:pt>
                <c:pt idx="82">
                  <c:v>70723</c:v>
                </c:pt>
                <c:pt idx="83">
                  <c:v>71083</c:v>
                </c:pt>
                <c:pt idx="84">
                  <c:v>71255</c:v>
                </c:pt>
                <c:pt idx="85">
                  <c:v>71787</c:v>
                </c:pt>
                <c:pt idx="86">
                  <c:v>72337</c:v>
                </c:pt>
                <c:pt idx="87">
                  <c:v>72843</c:v>
                </c:pt>
                <c:pt idx="88">
                  <c:v>73401</c:v>
                </c:pt>
                <c:pt idx="89">
                  <c:v>73982</c:v>
                </c:pt>
                <c:pt idx="90">
                  <c:v>74133</c:v>
                </c:pt>
                <c:pt idx="91">
                  <c:v>74300</c:v>
                </c:pt>
                <c:pt idx="92">
                  <c:v>74648</c:v>
                </c:pt>
                <c:pt idx="93">
                  <c:v>75095</c:v>
                </c:pt>
                <c:pt idx="94">
                  <c:v>75561</c:v>
                </c:pt>
                <c:pt idx="95">
                  <c:v>76015</c:v>
                </c:pt>
                <c:pt idx="96">
                  <c:v>76119</c:v>
                </c:pt>
                <c:pt idx="97">
                  <c:v>76161</c:v>
                </c:pt>
                <c:pt idx="98">
                  <c:v>76210</c:v>
                </c:pt>
                <c:pt idx="99">
                  <c:v>76246</c:v>
                </c:pt>
                <c:pt idx="100">
                  <c:v>76491</c:v>
                </c:pt>
                <c:pt idx="101">
                  <c:v>76808</c:v>
                </c:pt>
                <c:pt idx="102">
                  <c:v>77346</c:v>
                </c:pt>
                <c:pt idx="103">
                  <c:v>77920</c:v>
                </c:pt>
                <c:pt idx="104">
                  <c:v>78079</c:v>
                </c:pt>
                <c:pt idx="105">
                  <c:v>78180</c:v>
                </c:pt>
                <c:pt idx="106">
                  <c:v>78607</c:v>
                </c:pt>
                <c:pt idx="107">
                  <c:v>78987</c:v>
                </c:pt>
                <c:pt idx="108">
                  <c:v>79441</c:v>
                </c:pt>
                <c:pt idx="109">
                  <c:v>80101</c:v>
                </c:pt>
                <c:pt idx="110">
                  <c:v>80827</c:v>
                </c:pt>
                <c:pt idx="111">
                  <c:v>81031</c:v>
                </c:pt>
                <c:pt idx="112">
                  <c:v>81223</c:v>
                </c:pt>
                <c:pt idx="113">
                  <c:v>81745</c:v>
                </c:pt>
                <c:pt idx="114">
                  <c:v>82248</c:v>
                </c:pt>
                <c:pt idx="115">
                  <c:v>82906</c:v>
                </c:pt>
                <c:pt idx="116">
                  <c:v>83631</c:v>
                </c:pt>
                <c:pt idx="117">
                  <c:v>84342</c:v>
                </c:pt>
                <c:pt idx="118">
                  <c:v>84542</c:v>
                </c:pt>
                <c:pt idx="119">
                  <c:v>84730</c:v>
                </c:pt>
                <c:pt idx="120">
                  <c:v>85334</c:v>
                </c:pt>
                <c:pt idx="121">
                  <c:v>85881</c:v>
                </c:pt>
                <c:pt idx="122">
                  <c:v>86583</c:v>
                </c:pt>
                <c:pt idx="123">
                  <c:v>87339</c:v>
                </c:pt>
                <c:pt idx="124">
                  <c:v>87986</c:v>
                </c:pt>
                <c:pt idx="125">
                  <c:v>88140</c:v>
                </c:pt>
                <c:pt idx="126">
                  <c:v>88293</c:v>
                </c:pt>
                <c:pt idx="127">
                  <c:v>88800</c:v>
                </c:pt>
                <c:pt idx="128">
                  <c:v>89322</c:v>
                </c:pt>
                <c:pt idx="129">
                  <c:v>89847</c:v>
                </c:pt>
                <c:pt idx="130">
                  <c:v>90395</c:v>
                </c:pt>
                <c:pt idx="131">
                  <c:v>90966</c:v>
                </c:pt>
                <c:pt idx="132">
                  <c:v>91184</c:v>
                </c:pt>
                <c:pt idx="133">
                  <c:v>91291</c:v>
                </c:pt>
                <c:pt idx="134">
                  <c:v>91688</c:v>
                </c:pt>
                <c:pt idx="135">
                  <c:v>92167</c:v>
                </c:pt>
                <c:pt idx="136">
                  <c:v>92600</c:v>
                </c:pt>
                <c:pt idx="137">
                  <c:v>93035</c:v>
                </c:pt>
                <c:pt idx="138">
                  <c:v>93402</c:v>
                </c:pt>
                <c:pt idx="139">
                  <c:v>93564</c:v>
                </c:pt>
                <c:pt idx="140">
                  <c:v>93668</c:v>
                </c:pt>
                <c:pt idx="141">
                  <c:v>93984</c:v>
                </c:pt>
                <c:pt idx="142">
                  <c:v>94357</c:v>
                </c:pt>
                <c:pt idx="143">
                  <c:v>94718</c:v>
                </c:pt>
                <c:pt idx="144">
                  <c:v>95110</c:v>
                </c:pt>
                <c:pt idx="145">
                  <c:v>95475</c:v>
                </c:pt>
                <c:pt idx="146">
                  <c:v>95620</c:v>
                </c:pt>
                <c:pt idx="147">
                  <c:v>95718</c:v>
                </c:pt>
                <c:pt idx="148">
                  <c:v>95933</c:v>
                </c:pt>
                <c:pt idx="149">
                  <c:v>96172</c:v>
                </c:pt>
                <c:pt idx="150">
                  <c:v>96522</c:v>
                </c:pt>
                <c:pt idx="151">
                  <c:v>96849</c:v>
                </c:pt>
                <c:pt idx="152">
                  <c:v>97134</c:v>
                </c:pt>
                <c:pt idx="153">
                  <c:v>97277</c:v>
                </c:pt>
                <c:pt idx="154">
                  <c:v>97366</c:v>
                </c:pt>
                <c:pt idx="155">
                  <c:v>97644</c:v>
                </c:pt>
                <c:pt idx="156">
                  <c:v>97914</c:v>
                </c:pt>
                <c:pt idx="157">
                  <c:v>98258</c:v>
                </c:pt>
                <c:pt idx="158">
                  <c:v>98611</c:v>
                </c:pt>
                <c:pt idx="159">
                  <c:v>98937</c:v>
                </c:pt>
                <c:pt idx="160">
                  <c:v>99073</c:v>
                </c:pt>
                <c:pt idx="161">
                  <c:v>99202</c:v>
                </c:pt>
                <c:pt idx="162">
                  <c:v>99540</c:v>
                </c:pt>
                <c:pt idx="163">
                  <c:v>99880</c:v>
                </c:pt>
                <c:pt idx="164">
                  <c:v>100230</c:v>
                </c:pt>
                <c:pt idx="165">
                  <c:v>100592</c:v>
                </c:pt>
                <c:pt idx="166">
                  <c:v>100892</c:v>
                </c:pt>
                <c:pt idx="167">
                  <c:v>101100</c:v>
                </c:pt>
                <c:pt idx="168">
                  <c:v>101217</c:v>
                </c:pt>
                <c:pt idx="169">
                  <c:v>101461</c:v>
                </c:pt>
                <c:pt idx="170">
                  <c:v>101735</c:v>
                </c:pt>
                <c:pt idx="171">
                  <c:v>101975</c:v>
                </c:pt>
                <c:pt idx="172">
                  <c:v>102245</c:v>
                </c:pt>
                <c:pt idx="173">
                  <c:v>102462</c:v>
                </c:pt>
                <c:pt idx="174">
                  <c:v>102580</c:v>
                </c:pt>
                <c:pt idx="175">
                  <c:v>102674</c:v>
                </c:pt>
                <c:pt idx="176">
                  <c:v>102850</c:v>
                </c:pt>
                <c:pt idx="177">
                  <c:v>103071</c:v>
                </c:pt>
                <c:pt idx="178">
                  <c:v>103258</c:v>
                </c:pt>
                <c:pt idx="179">
                  <c:v>103419</c:v>
                </c:pt>
                <c:pt idx="180">
                  <c:v>103605</c:v>
                </c:pt>
                <c:pt idx="181">
                  <c:v>103696</c:v>
                </c:pt>
                <c:pt idx="182">
                  <c:v>103764</c:v>
                </c:pt>
                <c:pt idx="183">
                  <c:v>103945</c:v>
                </c:pt>
                <c:pt idx="184">
                  <c:v>104113</c:v>
                </c:pt>
                <c:pt idx="185">
                  <c:v>104294</c:v>
                </c:pt>
                <c:pt idx="186">
                  <c:v>104435</c:v>
                </c:pt>
                <c:pt idx="187">
                  <c:v>104627</c:v>
                </c:pt>
                <c:pt idx="188">
                  <c:v>104662</c:v>
                </c:pt>
                <c:pt idx="189">
                  <c:v>104707</c:v>
                </c:pt>
                <c:pt idx="190">
                  <c:v>104756</c:v>
                </c:pt>
                <c:pt idx="191">
                  <c:v>104788</c:v>
                </c:pt>
                <c:pt idx="192">
                  <c:v>104953</c:v>
                </c:pt>
                <c:pt idx="193">
                  <c:v>105131</c:v>
                </c:pt>
                <c:pt idx="194">
                  <c:v>105304</c:v>
                </c:pt>
                <c:pt idx="195">
                  <c:v>105364</c:v>
                </c:pt>
                <c:pt idx="196">
                  <c:v>105413</c:v>
                </c:pt>
                <c:pt idx="197">
                  <c:v>105575</c:v>
                </c:pt>
                <c:pt idx="198">
                  <c:v>105760</c:v>
                </c:pt>
                <c:pt idx="199">
                  <c:v>105963</c:v>
                </c:pt>
                <c:pt idx="200">
                  <c:v>106154</c:v>
                </c:pt>
                <c:pt idx="201">
                  <c:v>106337</c:v>
                </c:pt>
                <c:pt idx="202">
                  <c:v>106387</c:v>
                </c:pt>
                <c:pt idx="203">
                  <c:v>106446</c:v>
                </c:pt>
                <c:pt idx="204">
                  <c:v>106616</c:v>
                </c:pt>
                <c:pt idx="205">
                  <c:v>106765</c:v>
                </c:pt>
                <c:pt idx="206">
                  <c:v>106945</c:v>
                </c:pt>
                <c:pt idx="207">
                  <c:v>107123</c:v>
                </c:pt>
                <c:pt idx="208">
                  <c:v>107270</c:v>
                </c:pt>
                <c:pt idx="209">
                  <c:v>107313</c:v>
                </c:pt>
                <c:pt idx="210">
                  <c:v>107339</c:v>
                </c:pt>
                <c:pt idx="211">
                  <c:v>107507</c:v>
                </c:pt>
                <c:pt idx="212">
                  <c:v>107677</c:v>
                </c:pt>
                <c:pt idx="213">
                  <c:v>107829</c:v>
                </c:pt>
                <c:pt idx="214">
                  <c:v>107978</c:v>
                </c:pt>
                <c:pt idx="215">
                  <c:v>108142</c:v>
                </c:pt>
                <c:pt idx="216">
                  <c:v>108181</c:v>
                </c:pt>
                <c:pt idx="217">
                  <c:v>108221</c:v>
                </c:pt>
                <c:pt idx="218">
                  <c:v>108320</c:v>
                </c:pt>
                <c:pt idx="219">
                  <c:v>108432</c:v>
                </c:pt>
                <c:pt idx="220">
                  <c:v>108561</c:v>
                </c:pt>
                <c:pt idx="221">
                  <c:v>108670</c:v>
                </c:pt>
                <c:pt idx="222">
                  <c:v>108789</c:v>
                </c:pt>
                <c:pt idx="223">
                  <c:v>108811</c:v>
                </c:pt>
                <c:pt idx="224">
                  <c:v>108836</c:v>
                </c:pt>
                <c:pt idx="225">
                  <c:v>108921</c:v>
                </c:pt>
                <c:pt idx="226">
                  <c:v>109000</c:v>
                </c:pt>
                <c:pt idx="227">
                  <c:v>109070</c:v>
                </c:pt>
                <c:pt idx="228">
                  <c:v>109176</c:v>
                </c:pt>
                <c:pt idx="229">
                  <c:v>109239</c:v>
                </c:pt>
                <c:pt idx="230">
                  <c:v>109260</c:v>
                </c:pt>
                <c:pt idx="231">
                  <c:v>109282</c:v>
                </c:pt>
                <c:pt idx="232">
                  <c:v>109365</c:v>
                </c:pt>
                <c:pt idx="233">
                  <c:v>109444</c:v>
                </c:pt>
                <c:pt idx="234">
                  <c:v>109506</c:v>
                </c:pt>
                <c:pt idx="235">
                  <c:v>109576</c:v>
                </c:pt>
                <c:pt idx="236">
                  <c:v>109691</c:v>
                </c:pt>
                <c:pt idx="237">
                  <c:v>109705</c:v>
                </c:pt>
                <c:pt idx="238">
                  <c:v>109716</c:v>
                </c:pt>
                <c:pt idx="239">
                  <c:v>109812</c:v>
                </c:pt>
                <c:pt idx="240">
                  <c:v>109900</c:v>
                </c:pt>
                <c:pt idx="241">
                  <c:v>109966</c:v>
                </c:pt>
                <c:pt idx="242">
                  <c:v>110038</c:v>
                </c:pt>
                <c:pt idx="243">
                  <c:v>110127</c:v>
                </c:pt>
                <c:pt idx="244">
                  <c:v>110143</c:v>
                </c:pt>
                <c:pt idx="245">
                  <c:v>110159</c:v>
                </c:pt>
                <c:pt idx="246">
                  <c:v>110231</c:v>
                </c:pt>
                <c:pt idx="247">
                  <c:v>110292</c:v>
                </c:pt>
                <c:pt idx="248">
                  <c:v>110349</c:v>
                </c:pt>
                <c:pt idx="249">
                  <c:v>110423</c:v>
                </c:pt>
                <c:pt idx="250">
                  <c:v>110499</c:v>
                </c:pt>
                <c:pt idx="251">
                  <c:v>110511</c:v>
                </c:pt>
                <c:pt idx="252">
                  <c:v>110521</c:v>
                </c:pt>
                <c:pt idx="253">
                  <c:v>110580</c:v>
                </c:pt>
                <c:pt idx="254">
                  <c:v>110622</c:v>
                </c:pt>
                <c:pt idx="255">
                  <c:v>110672</c:v>
                </c:pt>
                <c:pt idx="256">
                  <c:v>110728</c:v>
                </c:pt>
                <c:pt idx="257">
                  <c:v>110779</c:v>
                </c:pt>
                <c:pt idx="258">
                  <c:v>110796</c:v>
                </c:pt>
                <c:pt idx="259">
                  <c:v>110803</c:v>
                </c:pt>
                <c:pt idx="260">
                  <c:v>110847</c:v>
                </c:pt>
                <c:pt idx="261">
                  <c:v>110910</c:v>
                </c:pt>
                <c:pt idx="262">
                  <c:v>110959</c:v>
                </c:pt>
                <c:pt idx="263">
                  <c:v>111016</c:v>
                </c:pt>
                <c:pt idx="264">
                  <c:v>111083</c:v>
                </c:pt>
                <c:pt idx="265">
                  <c:v>111100</c:v>
                </c:pt>
                <c:pt idx="266">
                  <c:v>111107</c:v>
                </c:pt>
                <c:pt idx="267">
                  <c:v>111145</c:v>
                </c:pt>
                <c:pt idx="268">
                  <c:v>111194</c:v>
                </c:pt>
                <c:pt idx="269">
                  <c:v>111238</c:v>
                </c:pt>
                <c:pt idx="270">
                  <c:v>111291</c:v>
                </c:pt>
                <c:pt idx="271">
                  <c:v>111363</c:v>
                </c:pt>
                <c:pt idx="272">
                  <c:v>111373</c:v>
                </c:pt>
                <c:pt idx="273">
                  <c:v>111377</c:v>
                </c:pt>
                <c:pt idx="274">
                  <c:v>111420</c:v>
                </c:pt>
                <c:pt idx="275">
                  <c:v>111422</c:v>
                </c:pt>
                <c:pt idx="276">
                  <c:v>111462</c:v>
                </c:pt>
                <c:pt idx="277">
                  <c:v>111501</c:v>
                </c:pt>
                <c:pt idx="278">
                  <c:v>111536</c:v>
                </c:pt>
                <c:pt idx="279">
                  <c:v>111543</c:v>
                </c:pt>
                <c:pt idx="280">
                  <c:v>111550</c:v>
                </c:pt>
                <c:pt idx="281">
                  <c:v>111578</c:v>
                </c:pt>
                <c:pt idx="282">
                  <c:v>111625</c:v>
                </c:pt>
                <c:pt idx="283">
                  <c:v>111674</c:v>
                </c:pt>
                <c:pt idx="284">
                  <c:v>111702</c:v>
                </c:pt>
                <c:pt idx="285">
                  <c:v>111752</c:v>
                </c:pt>
                <c:pt idx="286">
                  <c:v>111762</c:v>
                </c:pt>
                <c:pt idx="287">
                  <c:v>111767</c:v>
                </c:pt>
                <c:pt idx="288">
                  <c:v>111796</c:v>
                </c:pt>
                <c:pt idx="289">
                  <c:v>111817</c:v>
                </c:pt>
                <c:pt idx="290">
                  <c:v>111854</c:v>
                </c:pt>
                <c:pt idx="291">
                  <c:v>111885</c:v>
                </c:pt>
                <c:pt idx="292">
                  <c:v>111931</c:v>
                </c:pt>
                <c:pt idx="293">
                  <c:v>111943</c:v>
                </c:pt>
                <c:pt idx="294">
                  <c:v>111960</c:v>
                </c:pt>
                <c:pt idx="295">
                  <c:v>112012</c:v>
                </c:pt>
                <c:pt idx="296">
                  <c:v>112068</c:v>
                </c:pt>
                <c:pt idx="297">
                  <c:v>112126</c:v>
                </c:pt>
                <c:pt idx="298">
                  <c:v>112240</c:v>
                </c:pt>
                <c:pt idx="299">
                  <c:v>112364</c:v>
                </c:pt>
                <c:pt idx="300">
                  <c:v>112390</c:v>
                </c:pt>
                <c:pt idx="301">
                  <c:v>112414</c:v>
                </c:pt>
                <c:pt idx="302">
                  <c:v>112538</c:v>
                </c:pt>
                <c:pt idx="303">
                  <c:v>112706</c:v>
                </c:pt>
                <c:pt idx="304">
                  <c:v>112908</c:v>
                </c:pt>
                <c:pt idx="305">
                  <c:v>112945</c:v>
                </c:pt>
                <c:pt idx="306">
                  <c:v>113109</c:v>
                </c:pt>
                <c:pt idx="307">
                  <c:v>113155</c:v>
                </c:pt>
                <c:pt idx="308">
                  <c:v>113187</c:v>
                </c:pt>
                <c:pt idx="309">
                  <c:v>113355</c:v>
                </c:pt>
                <c:pt idx="310">
                  <c:v>113556</c:v>
                </c:pt>
                <c:pt idx="311">
                  <c:v>113746</c:v>
                </c:pt>
                <c:pt idx="312">
                  <c:v>113978</c:v>
                </c:pt>
                <c:pt idx="313">
                  <c:v>114227</c:v>
                </c:pt>
                <c:pt idx="314">
                  <c:v>114285</c:v>
                </c:pt>
                <c:pt idx="315">
                  <c:v>114323</c:v>
                </c:pt>
                <c:pt idx="316">
                  <c:v>114508</c:v>
                </c:pt>
                <c:pt idx="317">
                  <c:v>114663</c:v>
                </c:pt>
                <c:pt idx="318">
                  <c:v>114851</c:v>
                </c:pt>
                <c:pt idx="319">
                  <c:v>115028</c:v>
                </c:pt>
                <c:pt idx="320">
                  <c:v>115233</c:v>
                </c:pt>
                <c:pt idx="321">
                  <c:v>115292</c:v>
                </c:pt>
                <c:pt idx="322">
                  <c:v>115331</c:v>
                </c:pt>
                <c:pt idx="323">
                  <c:v>115521</c:v>
                </c:pt>
                <c:pt idx="324">
                  <c:v>115724</c:v>
                </c:pt>
                <c:pt idx="325">
                  <c:v>115774</c:v>
                </c:pt>
                <c:pt idx="326">
                  <c:v>115998</c:v>
                </c:pt>
                <c:pt idx="327">
                  <c:v>116275</c:v>
                </c:pt>
                <c:pt idx="328">
                  <c:v>116366</c:v>
                </c:pt>
                <c:pt idx="329">
                  <c:v>116433</c:v>
                </c:pt>
                <c:pt idx="330">
                  <c:v>116619</c:v>
                </c:pt>
                <c:pt idx="331">
                  <c:v>116798</c:v>
                </c:pt>
                <c:pt idx="332">
                  <c:v>117023</c:v>
                </c:pt>
                <c:pt idx="333">
                  <c:v>117238</c:v>
                </c:pt>
                <c:pt idx="334">
                  <c:v>117474</c:v>
                </c:pt>
                <c:pt idx="335">
                  <c:v>117536</c:v>
                </c:pt>
                <c:pt idx="336">
                  <c:v>117559</c:v>
                </c:pt>
                <c:pt idx="337">
                  <c:v>117709</c:v>
                </c:pt>
                <c:pt idx="338">
                  <c:v>117868</c:v>
                </c:pt>
                <c:pt idx="339">
                  <c:v>118023</c:v>
                </c:pt>
                <c:pt idx="340">
                  <c:v>118139</c:v>
                </c:pt>
                <c:pt idx="341">
                  <c:v>118253</c:v>
                </c:pt>
                <c:pt idx="342">
                  <c:v>118280</c:v>
                </c:pt>
                <c:pt idx="343">
                  <c:v>118291</c:v>
                </c:pt>
                <c:pt idx="344">
                  <c:v>118391</c:v>
                </c:pt>
                <c:pt idx="345">
                  <c:v>118476</c:v>
                </c:pt>
                <c:pt idx="346">
                  <c:v>118573</c:v>
                </c:pt>
                <c:pt idx="347">
                  <c:v>118648</c:v>
                </c:pt>
                <c:pt idx="348">
                  <c:v>118730</c:v>
                </c:pt>
                <c:pt idx="349">
                  <c:v>118744</c:v>
                </c:pt>
                <c:pt idx="350">
                  <c:v>118755</c:v>
                </c:pt>
                <c:pt idx="351">
                  <c:v>118841</c:v>
                </c:pt>
                <c:pt idx="352">
                  <c:v>118903</c:v>
                </c:pt>
                <c:pt idx="353">
                  <c:v>118983</c:v>
                </c:pt>
                <c:pt idx="354">
                  <c:v>119064</c:v>
                </c:pt>
                <c:pt idx="355">
                  <c:v>119148</c:v>
                </c:pt>
                <c:pt idx="356">
                  <c:v>119173</c:v>
                </c:pt>
                <c:pt idx="357">
                  <c:v>119177</c:v>
                </c:pt>
                <c:pt idx="358">
                  <c:v>119235</c:v>
                </c:pt>
                <c:pt idx="359">
                  <c:v>119275</c:v>
                </c:pt>
                <c:pt idx="360">
                  <c:v>119313</c:v>
                </c:pt>
                <c:pt idx="361">
                  <c:v>119333</c:v>
                </c:pt>
                <c:pt idx="362">
                  <c:v>119333</c:v>
                </c:pt>
                <c:pt idx="363">
                  <c:v>119360</c:v>
                </c:pt>
                <c:pt idx="364">
                  <c:v>119396</c:v>
                </c:pt>
                <c:pt idx="365">
                  <c:v>119435</c:v>
                </c:pt>
                <c:pt idx="366">
                  <c:v>119468</c:v>
                </c:pt>
                <c:pt idx="367">
                  <c:v>119471</c:v>
                </c:pt>
                <c:pt idx="368">
                  <c:v>119474</c:v>
                </c:pt>
                <c:pt idx="369">
                  <c:v>119520</c:v>
                </c:pt>
                <c:pt idx="370">
                  <c:v>119551</c:v>
                </c:pt>
                <c:pt idx="371">
                  <c:v>119610</c:v>
                </c:pt>
                <c:pt idx="372">
                  <c:v>119665</c:v>
                </c:pt>
                <c:pt idx="373">
                  <c:v>119751</c:v>
                </c:pt>
                <c:pt idx="374">
                  <c:v>119759</c:v>
                </c:pt>
                <c:pt idx="375">
                  <c:v>119764</c:v>
                </c:pt>
                <c:pt idx="376">
                  <c:v>119804</c:v>
                </c:pt>
                <c:pt idx="377">
                  <c:v>119854</c:v>
                </c:pt>
                <c:pt idx="378">
                  <c:v>119902</c:v>
                </c:pt>
                <c:pt idx="379">
                  <c:v>119961</c:v>
                </c:pt>
                <c:pt idx="380">
                  <c:v>120045</c:v>
                </c:pt>
                <c:pt idx="381">
                  <c:v>120059</c:v>
                </c:pt>
                <c:pt idx="382">
                  <c:v>120065</c:v>
                </c:pt>
                <c:pt idx="383">
                  <c:v>120110</c:v>
                </c:pt>
                <c:pt idx="384">
                  <c:v>120159</c:v>
                </c:pt>
                <c:pt idx="385">
                  <c:v>120198</c:v>
                </c:pt>
                <c:pt idx="386">
                  <c:v>120227</c:v>
                </c:pt>
                <c:pt idx="387">
                  <c:v>120264</c:v>
                </c:pt>
                <c:pt idx="388">
                  <c:v>120267</c:v>
                </c:pt>
                <c:pt idx="389">
                  <c:v>120270</c:v>
                </c:pt>
                <c:pt idx="390">
                  <c:v>120285</c:v>
                </c:pt>
                <c:pt idx="391">
                  <c:v>120302</c:v>
                </c:pt>
                <c:pt idx="392">
                  <c:v>120318</c:v>
                </c:pt>
                <c:pt idx="393">
                  <c:v>120336</c:v>
                </c:pt>
                <c:pt idx="394">
                  <c:v>120365</c:v>
                </c:pt>
                <c:pt idx="395">
                  <c:v>120372</c:v>
                </c:pt>
                <c:pt idx="396">
                  <c:v>120373</c:v>
                </c:pt>
                <c:pt idx="397">
                  <c:v>120386</c:v>
                </c:pt>
                <c:pt idx="398">
                  <c:v>120394</c:v>
                </c:pt>
                <c:pt idx="399">
                  <c:v>120404</c:v>
                </c:pt>
                <c:pt idx="400">
                  <c:v>120414</c:v>
                </c:pt>
                <c:pt idx="401">
                  <c:v>120430</c:v>
                </c:pt>
                <c:pt idx="402">
                  <c:v>120431</c:v>
                </c:pt>
                <c:pt idx="403">
                  <c:v>120431</c:v>
                </c:pt>
                <c:pt idx="404">
                  <c:v>120437</c:v>
                </c:pt>
                <c:pt idx="405">
                  <c:v>120440</c:v>
                </c:pt>
                <c:pt idx="406">
                  <c:v>120443</c:v>
                </c:pt>
                <c:pt idx="407">
                  <c:v>120450</c:v>
                </c:pt>
                <c:pt idx="408">
                  <c:v>120456</c:v>
                </c:pt>
                <c:pt idx="409">
                  <c:v>120456</c:v>
                </c:pt>
                <c:pt idx="410">
                  <c:v>120460</c:v>
                </c:pt>
                <c:pt idx="411">
                  <c:v>120464</c:v>
                </c:pt>
                <c:pt idx="412">
                  <c:v>120465</c:v>
                </c:pt>
                <c:pt idx="413">
                  <c:v>120468</c:v>
                </c:pt>
                <c:pt idx="414">
                  <c:v>120470</c:v>
                </c:pt>
                <c:pt idx="415">
                  <c:v>120470</c:v>
                </c:pt>
                <c:pt idx="416">
                  <c:v>120474</c:v>
                </c:pt>
                <c:pt idx="417">
                  <c:v>120474</c:v>
                </c:pt>
                <c:pt idx="418">
                  <c:v>120476</c:v>
                </c:pt>
                <c:pt idx="419">
                  <c:v>120480</c:v>
                </c:pt>
                <c:pt idx="420">
                  <c:v>120483</c:v>
                </c:pt>
                <c:pt idx="421">
                  <c:v>120483</c:v>
                </c:pt>
                <c:pt idx="422">
                  <c:v>120487</c:v>
                </c:pt>
                <c:pt idx="423">
                  <c:v>120489</c:v>
                </c:pt>
                <c:pt idx="424">
                  <c:v>120491</c:v>
                </c:pt>
                <c:pt idx="425">
                  <c:v>120501</c:v>
                </c:pt>
                <c:pt idx="426">
                  <c:v>120502</c:v>
                </c:pt>
                <c:pt idx="427">
                  <c:v>120503</c:v>
                </c:pt>
                <c:pt idx="428">
                  <c:v>120503</c:v>
                </c:pt>
                <c:pt idx="429">
                  <c:v>120511</c:v>
                </c:pt>
                <c:pt idx="430">
                  <c:v>120514</c:v>
                </c:pt>
                <c:pt idx="431">
                  <c:v>120526</c:v>
                </c:pt>
                <c:pt idx="432">
                  <c:v>120526</c:v>
                </c:pt>
                <c:pt idx="433">
                  <c:v>120530</c:v>
                </c:pt>
                <c:pt idx="434">
                  <c:v>120534</c:v>
                </c:pt>
                <c:pt idx="435">
                  <c:v>120536</c:v>
                </c:pt>
                <c:pt idx="436">
                  <c:v>120542</c:v>
                </c:pt>
                <c:pt idx="437">
                  <c:v>120547</c:v>
                </c:pt>
                <c:pt idx="438">
                  <c:v>120547</c:v>
                </c:pt>
                <c:pt idx="439">
                  <c:v>120552</c:v>
                </c:pt>
                <c:pt idx="440">
                  <c:v>120559</c:v>
                </c:pt>
                <c:pt idx="441">
                  <c:v>120562</c:v>
                </c:pt>
                <c:pt idx="442">
                  <c:v>120566</c:v>
                </c:pt>
                <c:pt idx="443">
                  <c:v>120567</c:v>
                </c:pt>
                <c:pt idx="444">
                  <c:v>120570</c:v>
                </c:pt>
                <c:pt idx="445">
                  <c:v>120573</c:v>
                </c:pt>
                <c:pt idx="446">
                  <c:v>120576</c:v>
                </c:pt>
                <c:pt idx="447">
                  <c:v>120579</c:v>
                </c:pt>
                <c:pt idx="448">
                  <c:v>1205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I$1:$QO$1</c:f>
              <c:strCache>
                <c:ptCount val="449"/>
                <c:pt idx="0">
                  <c:v>27.XII.20</c:v>
                </c:pt>
                <c:pt idx="1">
                  <c:v>28.XII.20</c:v>
                </c:pt>
                <c:pt idx="2">
                  <c:v>29.XII.20</c:v>
                </c:pt>
                <c:pt idx="3">
                  <c:v>30.XII.20</c:v>
                </c:pt>
                <c:pt idx="4">
                  <c:v>31.XII.20</c:v>
                </c:pt>
                <c:pt idx="5">
                  <c:v>1.I.21</c:v>
                </c:pt>
                <c:pt idx="6">
                  <c:v>2.I.21</c:v>
                </c:pt>
                <c:pt idx="7">
                  <c:v>3.I.21</c:v>
                </c:pt>
                <c:pt idx="8">
                  <c:v>4.I.21</c:v>
                </c:pt>
                <c:pt idx="9">
                  <c:v>5.I.21</c:v>
                </c:pt>
                <c:pt idx="10">
                  <c:v>6.I.21</c:v>
                </c:pt>
                <c:pt idx="11">
                  <c:v>7.I.21</c:v>
                </c:pt>
                <c:pt idx="12">
                  <c:v>8.I.21</c:v>
                </c:pt>
                <c:pt idx="13">
                  <c:v>9.I.21</c:v>
                </c:pt>
                <c:pt idx="14">
                  <c:v>10.I.21</c:v>
                </c:pt>
                <c:pt idx="15">
                  <c:v>11.I.21</c:v>
                </c:pt>
                <c:pt idx="16">
                  <c:v>12.I.21</c:v>
                </c:pt>
                <c:pt idx="17">
                  <c:v>13.I.21</c:v>
                </c:pt>
                <c:pt idx="18">
                  <c:v>14.I.21</c:v>
                </c:pt>
                <c:pt idx="19">
                  <c:v>15.I.21</c:v>
                </c:pt>
                <c:pt idx="20">
                  <c:v>16.I.21</c:v>
                </c:pt>
                <c:pt idx="21">
                  <c:v>17.I.21</c:v>
                </c:pt>
                <c:pt idx="22">
                  <c:v>18.I.21</c:v>
                </c:pt>
                <c:pt idx="23">
                  <c:v>19.I.21</c:v>
                </c:pt>
                <c:pt idx="24">
                  <c:v>20.I.21</c:v>
                </c:pt>
                <c:pt idx="25">
                  <c:v>21.I.21</c:v>
                </c:pt>
                <c:pt idx="26">
                  <c:v>22.I.21</c:v>
                </c:pt>
                <c:pt idx="27">
                  <c:v>23.I.21</c:v>
                </c:pt>
                <c:pt idx="28">
                  <c:v>24.I.21</c:v>
                </c:pt>
                <c:pt idx="29">
                  <c:v>25.I.21</c:v>
                </c:pt>
                <c:pt idx="30">
                  <c:v>26.I.21</c:v>
                </c:pt>
                <c:pt idx="31">
                  <c:v>27.I.21</c:v>
                </c:pt>
                <c:pt idx="32">
                  <c:v>28.I.21</c:v>
                </c:pt>
                <c:pt idx="33">
                  <c:v>29.I.21</c:v>
                </c:pt>
                <c:pt idx="34">
                  <c:v>30.I.21</c:v>
                </c:pt>
                <c:pt idx="35">
                  <c:v>31.I.21</c:v>
                </c:pt>
                <c:pt idx="36">
                  <c:v>1.II.21</c:v>
                </c:pt>
                <c:pt idx="37">
                  <c:v>2.II.21</c:v>
                </c:pt>
                <c:pt idx="38">
                  <c:v>3.II.21</c:v>
                </c:pt>
                <c:pt idx="39">
                  <c:v>4.II.21</c:v>
                </c:pt>
                <c:pt idx="40">
                  <c:v>5.II.21</c:v>
                </c:pt>
                <c:pt idx="41">
                  <c:v>6.II.21</c:v>
                </c:pt>
                <c:pt idx="42">
                  <c:v>7.II.21</c:v>
                </c:pt>
                <c:pt idx="43">
                  <c:v>8.II.21</c:v>
                </c:pt>
                <c:pt idx="44">
                  <c:v>9.II.21</c:v>
                </c:pt>
                <c:pt idx="45">
                  <c:v>10.II.21</c:v>
                </c:pt>
                <c:pt idx="46">
                  <c:v>11.II.21</c:v>
                </c:pt>
                <c:pt idx="47">
                  <c:v>12.II.21</c:v>
                </c:pt>
                <c:pt idx="48">
                  <c:v>13.II.21</c:v>
                </c:pt>
                <c:pt idx="49">
                  <c:v>14.II.21</c:v>
                </c:pt>
                <c:pt idx="50">
                  <c:v>15.II.21</c:v>
                </c:pt>
                <c:pt idx="51">
                  <c:v>16.II.21</c:v>
                </c:pt>
                <c:pt idx="52">
                  <c:v>17.II.21</c:v>
                </c:pt>
                <c:pt idx="53">
                  <c:v>18.II.21</c:v>
                </c:pt>
                <c:pt idx="54">
                  <c:v>19.II.21</c:v>
                </c:pt>
                <c:pt idx="55">
                  <c:v>20.II.21</c:v>
                </c:pt>
                <c:pt idx="56">
                  <c:v>21.II.21</c:v>
                </c:pt>
                <c:pt idx="57">
                  <c:v>22.II.21</c:v>
                </c:pt>
                <c:pt idx="58">
                  <c:v>23.II.21</c:v>
                </c:pt>
                <c:pt idx="59">
                  <c:v>24.II.21</c:v>
                </c:pt>
                <c:pt idx="60">
                  <c:v>25.II.21</c:v>
                </c:pt>
                <c:pt idx="61">
                  <c:v>26.II.21</c:v>
                </c:pt>
                <c:pt idx="62">
                  <c:v>27.II.21</c:v>
                </c:pt>
                <c:pt idx="63">
                  <c:v>28.II.21</c:v>
                </c:pt>
                <c:pt idx="64">
                  <c:v>1.III.21</c:v>
                </c:pt>
                <c:pt idx="65">
                  <c:v>2.III.21</c:v>
                </c:pt>
                <c:pt idx="66">
                  <c:v>3.III.21</c:v>
                </c:pt>
                <c:pt idx="67">
                  <c:v>4.III.21</c:v>
                </c:pt>
                <c:pt idx="68">
                  <c:v>5.III.21</c:v>
                </c:pt>
                <c:pt idx="69">
                  <c:v>6.III.21</c:v>
                </c:pt>
                <c:pt idx="70">
                  <c:v>7.III.21</c:v>
                </c:pt>
                <c:pt idx="71">
                  <c:v>8.III.21</c:v>
                </c:pt>
                <c:pt idx="72">
                  <c:v>9.III.21</c:v>
                </c:pt>
                <c:pt idx="73">
                  <c:v>10.III.21</c:v>
                </c:pt>
                <c:pt idx="74">
                  <c:v>11.III.21</c:v>
                </c:pt>
                <c:pt idx="75">
                  <c:v>12.III.21</c:v>
                </c:pt>
                <c:pt idx="76">
                  <c:v>13.III.21</c:v>
                </c:pt>
                <c:pt idx="77">
                  <c:v>14.III.21</c:v>
                </c:pt>
                <c:pt idx="78">
                  <c:v>15.III.21</c:v>
                </c:pt>
                <c:pt idx="79">
                  <c:v>16.III.21</c:v>
                </c:pt>
                <c:pt idx="80">
                  <c:v>17.III.21</c:v>
                </c:pt>
                <c:pt idx="81">
                  <c:v>18.III.21</c:v>
                </c:pt>
                <c:pt idx="82">
                  <c:v>19.III.21</c:v>
                </c:pt>
                <c:pt idx="83">
                  <c:v>20.III.21</c:v>
                </c:pt>
                <c:pt idx="84">
                  <c:v>21.III.21</c:v>
                </c:pt>
                <c:pt idx="85">
                  <c:v>22.III.21</c:v>
                </c:pt>
                <c:pt idx="86">
                  <c:v>23.III.21</c:v>
                </c:pt>
                <c:pt idx="87">
                  <c:v>24.III.21</c:v>
                </c:pt>
                <c:pt idx="88">
                  <c:v>25.III.21</c:v>
                </c:pt>
                <c:pt idx="89">
                  <c:v>26.III.21</c:v>
                </c:pt>
                <c:pt idx="90">
                  <c:v>27.III.21</c:v>
                </c:pt>
                <c:pt idx="91">
                  <c:v>28.III.21</c:v>
                </c:pt>
                <c:pt idx="92">
                  <c:v>29.III.21</c:v>
                </c:pt>
                <c:pt idx="93">
                  <c:v>30.III.21</c:v>
                </c:pt>
                <c:pt idx="94">
                  <c:v>31.III.21</c:v>
                </c:pt>
                <c:pt idx="95">
                  <c:v>1.IV.21</c:v>
                </c:pt>
                <c:pt idx="96">
                  <c:v>2.IV.21</c:v>
                </c:pt>
                <c:pt idx="97">
                  <c:v>3.IV.21</c:v>
                </c:pt>
                <c:pt idx="98">
                  <c:v>4.IV.21</c:v>
                </c:pt>
                <c:pt idx="99">
                  <c:v>5.IV.21</c:v>
                </c:pt>
                <c:pt idx="100">
                  <c:v>6.IV.21</c:v>
                </c:pt>
                <c:pt idx="101">
                  <c:v>7.IV.21</c:v>
                </c:pt>
                <c:pt idx="102">
                  <c:v>8.IV.21</c:v>
                </c:pt>
                <c:pt idx="103">
                  <c:v>9.IV.21</c:v>
                </c:pt>
                <c:pt idx="104">
                  <c:v>10.IV.21</c:v>
                </c:pt>
                <c:pt idx="105">
                  <c:v>11.IV.21</c:v>
                </c:pt>
                <c:pt idx="106">
                  <c:v>12.IV.21</c:v>
                </c:pt>
                <c:pt idx="107">
                  <c:v>13.IV.21</c:v>
                </c:pt>
                <c:pt idx="108">
                  <c:v>14.IV.21</c:v>
                </c:pt>
                <c:pt idx="109">
                  <c:v>15.IV.21</c:v>
                </c:pt>
                <c:pt idx="110">
                  <c:v>16.IV.21</c:v>
                </c:pt>
                <c:pt idx="111">
                  <c:v>17.IV.21</c:v>
                </c:pt>
                <c:pt idx="112">
                  <c:v>18.IV.21</c:v>
                </c:pt>
                <c:pt idx="113">
                  <c:v>19.IV.21</c:v>
                </c:pt>
                <c:pt idx="114">
                  <c:v>20.IV.21</c:v>
                </c:pt>
                <c:pt idx="115">
                  <c:v>21.IV.21</c:v>
                </c:pt>
                <c:pt idx="116">
                  <c:v>22.IV.21</c:v>
                </c:pt>
                <c:pt idx="117">
                  <c:v>23.IV.21</c:v>
                </c:pt>
                <c:pt idx="118">
                  <c:v>24.IV.21</c:v>
                </c:pt>
                <c:pt idx="119">
                  <c:v>25.IV.21</c:v>
                </c:pt>
                <c:pt idx="120">
                  <c:v>26.IV.21</c:v>
                </c:pt>
                <c:pt idx="121">
                  <c:v>27.IV.21</c:v>
                </c:pt>
                <c:pt idx="122">
                  <c:v>28.IV.21</c:v>
                </c:pt>
                <c:pt idx="123">
                  <c:v>29.IV.21</c:v>
                </c:pt>
                <c:pt idx="124">
                  <c:v>30.IV.21</c:v>
                </c:pt>
                <c:pt idx="125">
                  <c:v>1.V.21</c:v>
                </c:pt>
                <c:pt idx="126">
                  <c:v>2.V.21</c:v>
                </c:pt>
                <c:pt idx="127">
                  <c:v>3.V.21</c:v>
                </c:pt>
                <c:pt idx="128">
                  <c:v>4.V.21</c:v>
                </c:pt>
                <c:pt idx="129">
                  <c:v>5.V.21</c:v>
                </c:pt>
                <c:pt idx="130">
                  <c:v>6.V.21</c:v>
                </c:pt>
                <c:pt idx="131">
                  <c:v>7.V.21</c:v>
                </c:pt>
                <c:pt idx="132">
                  <c:v>8.V.21</c:v>
                </c:pt>
                <c:pt idx="133">
                  <c:v>9.V.21</c:v>
                </c:pt>
                <c:pt idx="134">
                  <c:v>10.V.21</c:v>
                </c:pt>
                <c:pt idx="135">
                  <c:v>11.V.21</c:v>
                </c:pt>
                <c:pt idx="136">
                  <c:v>12.V.21</c:v>
                </c:pt>
                <c:pt idx="137">
                  <c:v>13.V.21</c:v>
                </c:pt>
                <c:pt idx="138">
                  <c:v>14.V.21</c:v>
                </c:pt>
                <c:pt idx="139">
                  <c:v>15.V.21</c:v>
                </c:pt>
                <c:pt idx="140">
                  <c:v>16.V.21</c:v>
                </c:pt>
                <c:pt idx="141">
                  <c:v>17.V.21</c:v>
                </c:pt>
                <c:pt idx="142">
                  <c:v>18.V.21</c:v>
                </c:pt>
                <c:pt idx="143">
                  <c:v>19.V.21</c:v>
                </c:pt>
                <c:pt idx="144">
                  <c:v>20.V.21</c:v>
                </c:pt>
                <c:pt idx="145">
                  <c:v>21.V.21</c:v>
                </c:pt>
                <c:pt idx="146">
                  <c:v>22.V.21</c:v>
                </c:pt>
                <c:pt idx="147">
                  <c:v>23.V.21</c:v>
                </c:pt>
                <c:pt idx="148">
                  <c:v>24.V.21</c:v>
                </c:pt>
                <c:pt idx="149">
                  <c:v>25.V.21</c:v>
                </c:pt>
                <c:pt idx="150">
                  <c:v>26.V.21</c:v>
                </c:pt>
                <c:pt idx="151">
                  <c:v>27.V.21</c:v>
                </c:pt>
                <c:pt idx="152">
                  <c:v>28.V.21</c:v>
                </c:pt>
                <c:pt idx="153">
                  <c:v>29.V.21</c:v>
                </c:pt>
                <c:pt idx="154">
                  <c:v>30.V.21</c:v>
                </c:pt>
                <c:pt idx="155">
                  <c:v>31.V.21</c:v>
                </c:pt>
                <c:pt idx="156">
                  <c:v>1.VI.21</c:v>
                </c:pt>
                <c:pt idx="157">
                  <c:v>2.VI.21</c:v>
                </c:pt>
                <c:pt idx="158">
                  <c:v>3.VI.21</c:v>
                </c:pt>
                <c:pt idx="159">
                  <c:v>4.VI.21</c:v>
                </c:pt>
                <c:pt idx="160">
                  <c:v>5.VI.21</c:v>
                </c:pt>
                <c:pt idx="161">
                  <c:v>6.VI.21</c:v>
                </c:pt>
                <c:pt idx="162">
                  <c:v>7.VI.21</c:v>
                </c:pt>
                <c:pt idx="163">
                  <c:v>8.VI.21</c:v>
                </c:pt>
                <c:pt idx="164">
                  <c:v>9.VI.21</c:v>
                </c:pt>
                <c:pt idx="165">
                  <c:v>10.VI.21</c:v>
                </c:pt>
                <c:pt idx="166">
                  <c:v>11.VI.21</c:v>
                </c:pt>
                <c:pt idx="167">
                  <c:v>12.VI.21</c:v>
                </c:pt>
                <c:pt idx="168">
                  <c:v>13.VI.21</c:v>
                </c:pt>
                <c:pt idx="169">
                  <c:v>14.VI.21</c:v>
                </c:pt>
                <c:pt idx="170">
                  <c:v>15.VI.21</c:v>
                </c:pt>
                <c:pt idx="171">
                  <c:v>16.VI.21</c:v>
                </c:pt>
                <c:pt idx="172">
                  <c:v>17.VI.21</c:v>
                </c:pt>
                <c:pt idx="173">
                  <c:v>18.VI.21</c:v>
                </c:pt>
                <c:pt idx="174">
                  <c:v>19.VI.21</c:v>
                </c:pt>
                <c:pt idx="175">
                  <c:v>20.VI.21</c:v>
                </c:pt>
                <c:pt idx="176">
                  <c:v>21.VI.21</c:v>
                </c:pt>
                <c:pt idx="177">
                  <c:v>22.VI.21</c:v>
                </c:pt>
                <c:pt idx="178">
                  <c:v>23.VI.21</c:v>
                </c:pt>
                <c:pt idx="179">
                  <c:v>24.VI.21</c:v>
                </c:pt>
                <c:pt idx="180">
                  <c:v>25.VI.21</c:v>
                </c:pt>
                <c:pt idx="181">
                  <c:v>26.VI.21</c:v>
                </c:pt>
                <c:pt idx="182">
                  <c:v>27.VI.21</c:v>
                </c:pt>
                <c:pt idx="183">
                  <c:v>28.VI.21</c:v>
                </c:pt>
                <c:pt idx="184">
                  <c:v>29.VI.21</c:v>
                </c:pt>
                <c:pt idx="185">
                  <c:v>30.VI.21</c:v>
                </c:pt>
                <c:pt idx="186">
                  <c:v>1.VII.21</c:v>
                </c:pt>
                <c:pt idx="187">
                  <c:v>2.VII.21</c:v>
                </c:pt>
                <c:pt idx="188">
                  <c:v>3.VII.21</c:v>
                </c:pt>
                <c:pt idx="189">
                  <c:v>4.VII.21</c:v>
                </c:pt>
                <c:pt idx="190">
                  <c:v>5.VII.21</c:v>
                </c:pt>
                <c:pt idx="191">
                  <c:v>6.VII.21</c:v>
                </c:pt>
                <c:pt idx="192">
                  <c:v>7.VII.21</c:v>
                </c:pt>
                <c:pt idx="193">
                  <c:v>8.VII.21</c:v>
                </c:pt>
                <c:pt idx="194">
                  <c:v>9.VII.21</c:v>
                </c:pt>
                <c:pt idx="195">
                  <c:v>10.VII.21</c:v>
                </c:pt>
                <c:pt idx="196">
                  <c:v>11.VII.21</c:v>
                </c:pt>
                <c:pt idx="197">
                  <c:v>12.VII.21</c:v>
                </c:pt>
                <c:pt idx="198">
                  <c:v>13.VII.21</c:v>
                </c:pt>
                <c:pt idx="199">
                  <c:v>14.VII.21</c:v>
                </c:pt>
                <c:pt idx="200">
                  <c:v>15.VII.21</c:v>
                </c:pt>
                <c:pt idx="201">
                  <c:v>16.VII.21</c:v>
                </c:pt>
                <c:pt idx="202">
                  <c:v>17.VII.21</c:v>
                </c:pt>
                <c:pt idx="203">
                  <c:v>18.VII.21</c:v>
                </c:pt>
                <c:pt idx="204">
                  <c:v>19.VII.21</c:v>
                </c:pt>
                <c:pt idx="205">
                  <c:v>20.VII.21</c:v>
                </c:pt>
                <c:pt idx="206">
                  <c:v>21.VII.21</c:v>
                </c:pt>
                <c:pt idx="207">
                  <c:v>22.VII.21</c:v>
                </c:pt>
                <c:pt idx="208">
                  <c:v>23.VII.21</c:v>
                </c:pt>
                <c:pt idx="209">
                  <c:v>24.VII.21</c:v>
                </c:pt>
                <c:pt idx="210">
                  <c:v>25.VII.21</c:v>
                </c:pt>
                <c:pt idx="211">
                  <c:v>26.VII.21</c:v>
                </c:pt>
                <c:pt idx="212">
                  <c:v>27.VII.21</c:v>
                </c:pt>
                <c:pt idx="213">
                  <c:v>28.VII.21</c:v>
                </c:pt>
                <c:pt idx="214">
                  <c:v>29.VII.21</c:v>
                </c:pt>
                <c:pt idx="215">
                  <c:v>30.VII.21</c:v>
                </c:pt>
                <c:pt idx="216">
                  <c:v>31.VII.21</c:v>
                </c:pt>
                <c:pt idx="217">
                  <c:v>1.VIII.21</c:v>
                </c:pt>
                <c:pt idx="218">
                  <c:v>2.VIII.21</c:v>
                </c:pt>
                <c:pt idx="219">
                  <c:v>3.VIII.21</c:v>
                </c:pt>
                <c:pt idx="220">
                  <c:v>4.VIII.21</c:v>
                </c:pt>
                <c:pt idx="221">
                  <c:v>5.VIII.21</c:v>
                </c:pt>
                <c:pt idx="222">
                  <c:v>6.VIII.21</c:v>
                </c:pt>
                <c:pt idx="223">
                  <c:v>7.VIII.21</c:v>
                </c:pt>
                <c:pt idx="224">
                  <c:v>8.VIII.21</c:v>
                </c:pt>
                <c:pt idx="225">
                  <c:v>9.VIII.21</c:v>
                </c:pt>
                <c:pt idx="226">
                  <c:v>10.VIII.21</c:v>
                </c:pt>
                <c:pt idx="227">
                  <c:v>11.VIII.21</c:v>
                </c:pt>
                <c:pt idx="228">
                  <c:v>12.VIII.21</c:v>
                </c:pt>
                <c:pt idx="229">
                  <c:v>13.VIII.21</c:v>
                </c:pt>
                <c:pt idx="230">
                  <c:v>14.VIII.21</c:v>
                </c:pt>
                <c:pt idx="231">
                  <c:v>15.VIII.21</c:v>
                </c:pt>
                <c:pt idx="232">
                  <c:v>16.VIII.21</c:v>
                </c:pt>
                <c:pt idx="233">
                  <c:v>17.VIII.21</c:v>
                </c:pt>
                <c:pt idx="234">
                  <c:v>18.VIII.21</c:v>
                </c:pt>
                <c:pt idx="235">
                  <c:v>19.VIII.21</c:v>
                </c:pt>
                <c:pt idx="236">
                  <c:v>20.VIII.21</c:v>
                </c:pt>
                <c:pt idx="237">
                  <c:v>21.VIII.21</c:v>
                </c:pt>
                <c:pt idx="238">
                  <c:v>22.VIII.21</c:v>
                </c:pt>
                <c:pt idx="239">
                  <c:v>23.VIII.21</c:v>
                </c:pt>
                <c:pt idx="240">
                  <c:v>24.VIII.21</c:v>
                </c:pt>
                <c:pt idx="241">
                  <c:v>25.VIII.21</c:v>
                </c:pt>
                <c:pt idx="242">
                  <c:v>26.VIII.21</c:v>
                </c:pt>
                <c:pt idx="243">
                  <c:v>27.VIII.21</c:v>
                </c:pt>
                <c:pt idx="244">
                  <c:v>28.VIII.21</c:v>
                </c:pt>
                <c:pt idx="245">
                  <c:v>29.VIII.21</c:v>
                </c:pt>
                <c:pt idx="246">
                  <c:v>30.VIII.21</c:v>
                </c:pt>
                <c:pt idx="247">
                  <c:v>31.VIII.21</c:v>
                </c:pt>
                <c:pt idx="248">
                  <c:v>1.IX.21</c:v>
                </c:pt>
                <c:pt idx="249">
                  <c:v>2.IX.21</c:v>
                </c:pt>
                <c:pt idx="250">
                  <c:v>3.IX.21</c:v>
                </c:pt>
                <c:pt idx="251">
                  <c:v>4.IX.21</c:v>
                </c:pt>
                <c:pt idx="252">
                  <c:v>5.IX.21</c:v>
                </c:pt>
                <c:pt idx="253">
                  <c:v>6.IX.21</c:v>
                </c:pt>
                <c:pt idx="254">
                  <c:v>7.IX.21</c:v>
                </c:pt>
                <c:pt idx="255">
                  <c:v>8.IX.21</c:v>
                </c:pt>
                <c:pt idx="256">
                  <c:v>9.IX.21</c:v>
                </c:pt>
                <c:pt idx="257">
                  <c:v>10.IX.21</c:v>
                </c:pt>
                <c:pt idx="258">
                  <c:v>11.IX.21</c:v>
                </c:pt>
                <c:pt idx="259">
                  <c:v>12.IX.21</c:v>
                </c:pt>
                <c:pt idx="260">
                  <c:v>13.IX.21</c:v>
                </c:pt>
                <c:pt idx="261">
                  <c:v>14.IX.21</c:v>
                </c:pt>
                <c:pt idx="262">
                  <c:v>15.IX.21</c:v>
                </c:pt>
                <c:pt idx="263">
                  <c:v>16.IX.21</c:v>
                </c:pt>
                <c:pt idx="264">
                  <c:v>17.IX.21</c:v>
                </c:pt>
                <c:pt idx="265">
                  <c:v>18.IX.21</c:v>
                </c:pt>
                <c:pt idx="266">
                  <c:v>19.IX.21</c:v>
                </c:pt>
                <c:pt idx="267">
                  <c:v>20.IX.21</c:v>
                </c:pt>
                <c:pt idx="268">
                  <c:v>21.IX.21</c:v>
                </c:pt>
                <c:pt idx="269">
                  <c:v>22.IX.21</c:v>
                </c:pt>
                <c:pt idx="270">
                  <c:v>23.IX.21</c:v>
                </c:pt>
                <c:pt idx="271">
                  <c:v>24.IX.21</c:v>
                </c:pt>
                <c:pt idx="272">
                  <c:v>25.IX.21</c:v>
                </c:pt>
                <c:pt idx="273">
                  <c:v>26.IX.21</c:v>
                </c:pt>
                <c:pt idx="274">
                  <c:v>27.IX.21</c:v>
                </c:pt>
                <c:pt idx="275">
                  <c:v>28.IX.21</c:v>
                </c:pt>
                <c:pt idx="276">
                  <c:v>29.IX.21</c:v>
                </c:pt>
                <c:pt idx="277">
                  <c:v>30.IX.21</c:v>
                </c:pt>
                <c:pt idx="278">
                  <c:v>1.X.21</c:v>
                </c:pt>
                <c:pt idx="279">
                  <c:v>2.X.21</c:v>
                </c:pt>
                <c:pt idx="280">
                  <c:v>3.X.21</c:v>
                </c:pt>
                <c:pt idx="281">
                  <c:v>4.X.21</c:v>
                </c:pt>
                <c:pt idx="282">
                  <c:v>5.X.21</c:v>
                </c:pt>
                <c:pt idx="283">
                  <c:v>6.X.21</c:v>
                </c:pt>
                <c:pt idx="284">
                  <c:v>7.X.21</c:v>
                </c:pt>
                <c:pt idx="285">
                  <c:v>8.X.21</c:v>
                </c:pt>
                <c:pt idx="286">
                  <c:v>9.X.21</c:v>
                </c:pt>
                <c:pt idx="287">
                  <c:v>10.X.21</c:v>
                </c:pt>
                <c:pt idx="288">
                  <c:v>11.X.21</c:v>
                </c:pt>
                <c:pt idx="289">
                  <c:v>12.X.21</c:v>
                </c:pt>
                <c:pt idx="290">
                  <c:v>13.X.21</c:v>
                </c:pt>
                <c:pt idx="291">
                  <c:v>14.X.21</c:v>
                </c:pt>
                <c:pt idx="292">
                  <c:v>15.X.21</c:v>
                </c:pt>
                <c:pt idx="293">
                  <c:v>16.X.21</c:v>
                </c:pt>
                <c:pt idx="294">
                  <c:v>17.X.21</c:v>
                </c:pt>
                <c:pt idx="295">
                  <c:v>18.X.21</c:v>
                </c:pt>
                <c:pt idx="296">
                  <c:v>19.X.21</c:v>
                </c:pt>
                <c:pt idx="297">
                  <c:v>20.X.21</c:v>
                </c:pt>
                <c:pt idx="298">
                  <c:v>21.X.21</c:v>
                </c:pt>
                <c:pt idx="299">
                  <c:v>22.X.21</c:v>
                </c:pt>
                <c:pt idx="300">
                  <c:v>23.X.21</c:v>
                </c:pt>
                <c:pt idx="301">
                  <c:v>24.X.21</c:v>
                </c:pt>
                <c:pt idx="302">
                  <c:v>25.X.21</c:v>
                </c:pt>
                <c:pt idx="303">
                  <c:v>26.X.21</c:v>
                </c:pt>
                <c:pt idx="304">
                  <c:v>27.X.21</c:v>
                </c:pt>
                <c:pt idx="305">
                  <c:v>28.X.21</c:v>
                </c:pt>
                <c:pt idx="306">
                  <c:v>29.X.21</c:v>
                </c:pt>
                <c:pt idx="307">
                  <c:v>30.X.21</c:v>
                </c:pt>
                <c:pt idx="308">
                  <c:v>31.X.21</c:v>
                </c:pt>
                <c:pt idx="309">
                  <c:v>1.XI.21</c:v>
                </c:pt>
                <c:pt idx="310">
                  <c:v>2.XI.21</c:v>
                </c:pt>
                <c:pt idx="311">
                  <c:v>3.XI.21</c:v>
                </c:pt>
                <c:pt idx="312">
                  <c:v>4.XI.21</c:v>
                </c:pt>
                <c:pt idx="313">
                  <c:v>5.XI.21</c:v>
                </c:pt>
                <c:pt idx="314">
                  <c:v>6.XI.21</c:v>
                </c:pt>
                <c:pt idx="315">
                  <c:v>7.XI.21</c:v>
                </c:pt>
                <c:pt idx="316">
                  <c:v>8.XI.21</c:v>
                </c:pt>
                <c:pt idx="317">
                  <c:v>9.XI.21</c:v>
                </c:pt>
                <c:pt idx="318">
                  <c:v>10.XI.21</c:v>
                </c:pt>
                <c:pt idx="319">
                  <c:v>11.XI.21</c:v>
                </c:pt>
                <c:pt idx="320">
                  <c:v>12.XI.21</c:v>
                </c:pt>
                <c:pt idx="321">
                  <c:v>13.XI.21</c:v>
                </c:pt>
                <c:pt idx="322">
                  <c:v>14.XI.21</c:v>
                </c:pt>
                <c:pt idx="323">
                  <c:v>15.XI.21</c:v>
                </c:pt>
                <c:pt idx="324">
                  <c:v>16.XI.21</c:v>
                </c:pt>
                <c:pt idx="325">
                  <c:v>17.XI.21</c:v>
                </c:pt>
                <c:pt idx="326">
                  <c:v>18.XI.21</c:v>
                </c:pt>
                <c:pt idx="327">
                  <c:v>19.XI.21</c:v>
                </c:pt>
                <c:pt idx="328">
                  <c:v>20.XI.21</c:v>
                </c:pt>
                <c:pt idx="329">
                  <c:v>21.XI.21</c:v>
                </c:pt>
                <c:pt idx="330">
                  <c:v>22.XI.21</c:v>
                </c:pt>
                <c:pt idx="331">
                  <c:v>23.XI.21</c:v>
                </c:pt>
                <c:pt idx="332">
                  <c:v>24.XI.21</c:v>
                </c:pt>
                <c:pt idx="333">
                  <c:v>25.XI.21</c:v>
                </c:pt>
                <c:pt idx="334">
                  <c:v>26.XI.21</c:v>
                </c:pt>
                <c:pt idx="335">
                  <c:v>27.XI.21</c:v>
                </c:pt>
                <c:pt idx="336">
                  <c:v>28.XI.21</c:v>
                </c:pt>
                <c:pt idx="337">
                  <c:v>29.XI.21</c:v>
                </c:pt>
                <c:pt idx="338">
                  <c:v>30.XI.21</c:v>
                </c:pt>
                <c:pt idx="339">
                  <c:v>1.XII.21</c:v>
                </c:pt>
                <c:pt idx="340">
                  <c:v>2.XII.21</c:v>
                </c:pt>
                <c:pt idx="341">
                  <c:v>3.XII.21</c:v>
                </c:pt>
                <c:pt idx="342">
                  <c:v>4.XII.21</c:v>
                </c:pt>
                <c:pt idx="343">
                  <c:v>5.XII.21</c:v>
                </c:pt>
                <c:pt idx="344">
                  <c:v>6.XII.21</c:v>
                </c:pt>
                <c:pt idx="345">
                  <c:v>7.XII.21</c:v>
                </c:pt>
                <c:pt idx="346">
                  <c:v>8.XII.21</c:v>
                </c:pt>
                <c:pt idx="347">
                  <c:v>9.XII.21</c:v>
                </c:pt>
                <c:pt idx="348">
                  <c:v>10.XII.21</c:v>
                </c:pt>
                <c:pt idx="349">
                  <c:v>11.XII.21</c:v>
                </c:pt>
                <c:pt idx="350">
                  <c:v>12.XII.21</c:v>
                </c:pt>
                <c:pt idx="351">
                  <c:v>13.XII.21</c:v>
                </c:pt>
                <c:pt idx="352">
                  <c:v>14.XII.21</c:v>
                </c:pt>
                <c:pt idx="353">
                  <c:v>15.XII.21</c:v>
                </c:pt>
                <c:pt idx="354">
                  <c:v>16.XII.21</c:v>
                </c:pt>
                <c:pt idx="355">
                  <c:v>17.XII.21</c:v>
                </c:pt>
                <c:pt idx="356">
                  <c:v>18.XII.21</c:v>
                </c:pt>
                <c:pt idx="357">
                  <c:v>19.XII.21</c:v>
                </c:pt>
                <c:pt idx="358">
                  <c:v>20.XII.21</c:v>
                </c:pt>
                <c:pt idx="359">
                  <c:v>21.XII.21</c:v>
                </c:pt>
                <c:pt idx="360">
                  <c:v>22.XII.21</c:v>
                </c:pt>
                <c:pt idx="361">
                  <c:v>23.XII.21</c:v>
                </c:pt>
                <c:pt idx="362">
                  <c:v>24.XII.21</c:v>
                </c:pt>
                <c:pt idx="363">
                  <c:v>27.XII.21</c:v>
                </c:pt>
                <c:pt idx="364">
                  <c:v>28.XII.21</c:v>
                </c:pt>
                <c:pt idx="365">
                  <c:v>29.XII.21</c:v>
                </c:pt>
                <c:pt idx="366">
                  <c:v>30.XII.21</c:v>
                </c:pt>
                <c:pt idx="367">
                  <c:v>31.XII.21</c:v>
                </c:pt>
                <c:pt idx="368">
                  <c:v>2.I.22</c:v>
                </c:pt>
                <c:pt idx="369">
                  <c:v>3.I.22</c:v>
                </c:pt>
                <c:pt idx="370">
                  <c:v>4.I.22</c:v>
                </c:pt>
                <c:pt idx="371">
                  <c:v>5.I.22</c:v>
                </c:pt>
                <c:pt idx="372">
                  <c:v>6.I.22</c:v>
                </c:pt>
                <c:pt idx="373">
                  <c:v>7.I.22</c:v>
                </c:pt>
                <c:pt idx="374">
                  <c:v>8.I.22</c:v>
                </c:pt>
                <c:pt idx="375">
                  <c:v>9.I.22</c:v>
                </c:pt>
                <c:pt idx="376">
                  <c:v>10.I.22</c:v>
                </c:pt>
                <c:pt idx="377">
                  <c:v>11.I.22</c:v>
                </c:pt>
                <c:pt idx="378">
                  <c:v>12.I.22</c:v>
                </c:pt>
                <c:pt idx="379">
                  <c:v>13.I.22</c:v>
                </c:pt>
                <c:pt idx="380">
                  <c:v>14.I.22</c:v>
                </c:pt>
                <c:pt idx="381">
                  <c:v>15.I.22</c:v>
                </c:pt>
                <c:pt idx="382">
                  <c:v>16.I.22</c:v>
                </c:pt>
                <c:pt idx="383">
                  <c:v>17.I.22</c:v>
                </c:pt>
                <c:pt idx="384">
                  <c:v>18.I.22</c:v>
                </c:pt>
                <c:pt idx="385">
                  <c:v>19.I.22</c:v>
                </c:pt>
                <c:pt idx="386">
                  <c:v>20.I.22</c:v>
                </c:pt>
                <c:pt idx="387">
                  <c:v>21.I.22</c:v>
                </c:pt>
                <c:pt idx="388">
                  <c:v>22.I.22</c:v>
                </c:pt>
                <c:pt idx="389">
                  <c:v>23.I.22</c:v>
                </c:pt>
                <c:pt idx="390">
                  <c:v>24.I.22</c:v>
                </c:pt>
                <c:pt idx="391">
                  <c:v>25.I.22</c:v>
                </c:pt>
                <c:pt idx="392">
                  <c:v>26.I.22</c:v>
                </c:pt>
                <c:pt idx="393">
                  <c:v>27.I.22</c:v>
                </c:pt>
                <c:pt idx="394">
                  <c:v>28.I.22</c:v>
                </c:pt>
                <c:pt idx="395">
                  <c:v>29.I.22</c:v>
                </c:pt>
                <c:pt idx="396">
                  <c:v>30.I.22</c:v>
                </c:pt>
                <c:pt idx="397">
                  <c:v>31.I.22</c:v>
                </c:pt>
                <c:pt idx="398">
                  <c:v>1.II.22</c:v>
                </c:pt>
                <c:pt idx="399">
                  <c:v>2.II.22</c:v>
                </c:pt>
                <c:pt idx="400">
                  <c:v>3.II.22</c:v>
                </c:pt>
                <c:pt idx="401">
                  <c:v>4.II.22</c:v>
                </c:pt>
                <c:pt idx="402">
                  <c:v>5.II.22</c:v>
                </c:pt>
                <c:pt idx="403">
                  <c:v>6.II.22</c:v>
                </c:pt>
                <c:pt idx="404">
                  <c:v>7.II.22</c:v>
                </c:pt>
                <c:pt idx="405">
                  <c:v>8.II.22</c:v>
                </c:pt>
                <c:pt idx="406">
                  <c:v>9.II.22</c:v>
                </c:pt>
                <c:pt idx="407">
                  <c:v>10.II.22</c:v>
                </c:pt>
                <c:pt idx="408">
                  <c:v>11.II.22</c:v>
                </c:pt>
                <c:pt idx="409">
                  <c:v>12.II.22</c:v>
                </c:pt>
                <c:pt idx="410">
                  <c:v>14.II.22</c:v>
                </c:pt>
                <c:pt idx="411">
                  <c:v>15.II.22</c:v>
                </c:pt>
                <c:pt idx="412">
                  <c:v>16.II.22</c:v>
                </c:pt>
                <c:pt idx="413">
                  <c:v>17.II.22</c:v>
                </c:pt>
                <c:pt idx="414">
                  <c:v>18.II.22</c:v>
                </c:pt>
                <c:pt idx="415">
                  <c:v>19.II.22</c:v>
                </c:pt>
                <c:pt idx="416">
                  <c:v>21.II.22</c:v>
                </c:pt>
                <c:pt idx="417">
                  <c:v>22.II.22</c:v>
                </c:pt>
                <c:pt idx="418">
                  <c:v>23.II.22</c:v>
                </c:pt>
                <c:pt idx="419">
                  <c:v>24.II.22</c:v>
                </c:pt>
                <c:pt idx="420">
                  <c:v>25.II.22</c:v>
                </c:pt>
                <c:pt idx="421">
                  <c:v>28.II.22</c:v>
                </c:pt>
                <c:pt idx="422">
                  <c:v>1.III.22</c:v>
                </c:pt>
                <c:pt idx="423">
                  <c:v>2.III.22</c:v>
                </c:pt>
                <c:pt idx="424">
                  <c:v>3.III.22</c:v>
                </c:pt>
                <c:pt idx="425">
                  <c:v>4.III.22</c:v>
                </c:pt>
                <c:pt idx="426">
                  <c:v>5.III.22</c:v>
                </c:pt>
                <c:pt idx="427">
                  <c:v>7.III.22</c:v>
                </c:pt>
                <c:pt idx="428">
                  <c:v>8.III.22</c:v>
                </c:pt>
                <c:pt idx="429">
                  <c:v>9.III.22</c:v>
                </c:pt>
                <c:pt idx="430">
                  <c:v>10.III.22</c:v>
                </c:pt>
                <c:pt idx="431">
                  <c:v>11.III.22</c:v>
                </c:pt>
                <c:pt idx="432">
                  <c:v>12.III.22</c:v>
                </c:pt>
                <c:pt idx="433">
                  <c:v>14.III.22</c:v>
                </c:pt>
                <c:pt idx="434">
                  <c:v>15.III.22</c:v>
                </c:pt>
                <c:pt idx="435">
                  <c:v>16.III.22</c:v>
                </c:pt>
                <c:pt idx="436">
                  <c:v>17.III.22</c:v>
                </c:pt>
                <c:pt idx="437">
                  <c:v>18.III.22</c:v>
                </c:pt>
                <c:pt idx="438">
                  <c:v>21.III.22</c:v>
                </c:pt>
                <c:pt idx="439">
                  <c:v>22.III.22</c:v>
                </c:pt>
                <c:pt idx="440">
                  <c:v>23.III.22</c:v>
                </c:pt>
                <c:pt idx="441">
                  <c:v>24.III.22</c:v>
                </c:pt>
                <c:pt idx="442">
                  <c:v>25.III.22</c:v>
                </c:pt>
                <c:pt idx="443">
                  <c:v>26.III.22</c:v>
                </c:pt>
                <c:pt idx="444">
                  <c:v>28.III.22</c:v>
                </c:pt>
                <c:pt idx="445">
                  <c:v>29.III.22</c:v>
                </c:pt>
                <c:pt idx="446">
                  <c:v>30.III.22</c:v>
                </c:pt>
                <c:pt idx="447">
                  <c:v>31.III.22</c:v>
                </c:pt>
                <c:pt idx="448">
                  <c:v>1.IV.22</c:v>
                </c:pt>
              </c:strCache>
            </c:strRef>
          </c:cat>
          <c:val>
            <c:numRef>
              <c:f>List1!$I$4:$QO$4</c:f>
              <c:numCache>
                <c:formatCode>General</c:formatCode>
                <c:ptCount val="449"/>
                <c:pt idx="0">
                  <c:v>193</c:v>
                </c:pt>
                <c:pt idx="1">
                  <c:v>640</c:v>
                </c:pt>
                <c:pt idx="2">
                  <c:v>1248</c:v>
                </c:pt>
                <c:pt idx="3">
                  <c:v>1873</c:v>
                </c:pt>
                <c:pt idx="4">
                  <c:v>2046</c:v>
                </c:pt>
                <c:pt idx="5">
                  <c:v>2075</c:v>
                </c:pt>
                <c:pt idx="6">
                  <c:v>2363</c:v>
                </c:pt>
                <c:pt idx="7">
                  <c:v>2574</c:v>
                </c:pt>
                <c:pt idx="8">
                  <c:v>3201</c:v>
                </c:pt>
                <c:pt idx="9">
                  <c:v>4163</c:v>
                </c:pt>
                <c:pt idx="10">
                  <c:v>5580</c:v>
                </c:pt>
                <c:pt idx="11">
                  <c:v>7180</c:v>
                </c:pt>
                <c:pt idx="12">
                  <c:v>9027</c:v>
                </c:pt>
                <c:pt idx="13">
                  <c:v>9335</c:v>
                </c:pt>
                <c:pt idx="14">
                  <c:v>9644</c:v>
                </c:pt>
                <c:pt idx="15">
                  <c:v>11509</c:v>
                </c:pt>
                <c:pt idx="16">
                  <c:v>13790</c:v>
                </c:pt>
                <c:pt idx="17">
                  <c:v>15829</c:v>
                </c:pt>
                <c:pt idx="18">
                  <c:v>17717</c:v>
                </c:pt>
                <c:pt idx="19">
                  <c:v>19326</c:v>
                </c:pt>
                <c:pt idx="20">
                  <c:v>19546</c:v>
                </c:pt>
                <c:pt idx="21">
                  <c:v>19642</c:v>
                </c:pt>
                <c:pt idx="22">
                  <c:v>20816</c:v>
                </c:pt>
                <c:pt idx="23">
                  <c:v>21750</c:v>
                </c:pt>
                <c:pt idx="24">
                  <c:v>22694</c:v>
                </c:pt>
                <c:pt idx="25">
                  <c:v>23551</c:v>
                </c:pt>
                <c:pt idx="26">
                  <c:v>24303</c:v>
                </c:pt>
                <c:pt idx="27">
                  <c:v>24366</c:v>
                </c:pt>
                <c:pt idx="28">
                  <c:v>24411</c:v>
                </c:pt>
                <c:pt idx="29">
                  <c:v>24862</c:v>
                </c:pt>
                <c:pt idx="30">
                  <c:v>25315</c:v>
                </c:pt>
                <c:pt idx="31">
                  <c:v>25711</c:v>
                </c:pt>
                <c:pt idx="32">
                  <c:v>26114</c:v>
                </c:pt>
                <c:pt idx="33">
                  <c:v>26498</c:v>
                </c:pt>
                <c:pt idx="34">
                  <c:v>26522</c:v>
                </c:pt>
                <c:pt idx="35">
                  <c:v>26554</c:v>
                </c:pt>
                <c:pt idx="36">
                  <c:v>26846</c:v>
                </c:pt>
                <c:pt idx="37">
                  <c:v>27136</c:v>
                </c:pt>
                <c:pt idx="38">
                  <c:v>27368</c:v>
                </c:pt>
                <c:pt idx="39">
                  <c:v>27552</c:v>
                </c:pt>
                <c:pt idx="40">
                  <c:v>27787</c:v>
                </c:pt>
                <c:pt idx="41">
                  <c:v>27796</c:v>
                </c:pt>
                <c:pt idx="42">
                  <c:v>27814</c:v>
                </c:pt>
                <c:pt idx="43">
                  <c:v>28051</c:v>
                </c:pt>
                <c:pt idx="44">
                  <c:v>28246</c:v>
                </c:pt>
                <c:pt idx="45">
                  <c:v>28513</c:v>
                </c:pt>
                <c:pt idx="46">
                  <c:v>28864</c:v>
                </c:pt>
                <c:pt idx="47">
                  <c:v>29256</c:v>
                </c:pt>
                <c:pt idx="48">
                  <c:v>29368</c:v>
                </c:pt>
                <c:pt idx="49">
                  <c:v>29434</c:v>
                </c:pt>
                <c:pt idx="50">
                  <c:v>29849</c:v>
                </c:pt>
                <c:pt idx="51">
                  <c:v>30355</c:v>
                </c:pt>
                <c:pt idx="52">
                  <c:v>30900</c:v>
                </c:pt>
                <c:pt idx="53">
                  <c:v>31457</c:v>
                </c:pt>
                <c:pt idx="54">
                  <c:v>32111</c:v>
                </c:pt>
                <c:pt idx="55">
                  <c:v>32336</c:v>
                </c:pt>
                <c:pt idx="56">
                  <c:v>32393</c:v>
                </c:pt>
                <c:pt idx="57">
                  <c:v>33077</c:v>
                </c:pt>
                <c:pt idx="58">
                  <c:v>34076</c:v>
                </c:pt>
                <c:pt idx="59">
                  <c:v>35155</c:v>
                </c:pt>
                <c:pt idx="60">
                  <c:v>36307</c:v>
                </c:pt>
                <c:pt idx="61">
                  <c:v>37380</c:v>
                </c:pt>
                <c:pt idx="62">
                  <c:v>37538</c:v>
                </c:pt>
                <c:pt idx="63">
                  <c:v>37668</c:v>
                </c:pt>
                <c:pt idx="64">
                  <c:v>38781</c:v>
                </c:pt>
                <c:pt idx="65">
                  <c:v>39989</c:v>
                </c:pt>
                <c:pt idx="66">
                  <c:v>41101</c:v>
                </c:pt>
                <c:pt idx="67">
                  <c:v>42103</c:v>
                </c:pt>
                <c:pt idx="68">
                  <c:v>43290</c:v>
                </c:pt>
                <c:pt idx="69">
                  <c:v>43580</c:v>
                </c:pt>
                <c:pt idx="70">
                  <c:v>43795</c:v>
                </c:pt>
                <c:pt idx="71">
                  <c:v>44638</c:v>
                </c:pt>
                <c:pt idx="72">
                  <c:v>45460</c:v>
                </c:pt>
                <c:pt idx="73">
                  <c:v>46358</c:v>
                </c:pt>
                <c:pt idx="74">
                  <c:v>47555</c:v>
                </c:pt>
                <c:pt idx="75">
                  <c:v>48665</c:v>
                </c:pt>
                <c:pt idx="76">
                  <c:v>48949</c:v>
                </c:pt>
                <c:pt idx="77">
                  <c:v>49190</c:v>
                </c:pt>
                <c:pt idx="78">
                  <c:v>49822</c:v>
                </c:pt>
                <c:pt idx="79">
                  <c:v>50750</c:v>
                </c:pt>
                <c:pt idx="80">
                  <c:v>51689</c:v>
                </c:pt>
                <c:pt idx="81">
                  <c:v>52467</c:v>
                </c:pt>
                <c:pt idx="82">
                  <c:v>53424</c:v>
                </c:pt>
                <c:pt idx="83">
                  <c:v>53824</c:v>
                </c:pt>
                <c:pt idx="84">
                  <c:v>54029</c:v>
                </c:pt>
                <c:pt idx="85">
                  <c:v>54478</c:v>
                </c:pt>
                <c:pt idx="86">
                  <c:v>54973</c:v>
                </c:pt>
                <c:pt idx="87">
                  <c:v>55389</c:v>
                </c:pt>
                <c:pt idx="88">
                  <c:v>55934</c:v>
                </c:pt>
                <c:pt idx="89">
                  <c:v>56512</c:v>
                </c:pt>
                <c:pt idx="90">
                  <c:v>56672</c:v>
                </c:pt>
                <c:pt idx="91">
                  <c:v>56808</c:v>
                </c:pt>
                <c:pt idx="92">
                  <c:v>57118</c:v>
                </c:pt>
                <c:pt idx="93">
                  <c:v>57540</c:v>
                </c:pt>
                <c:pt idx="94">
                  <c:v>58035</c:v>
                </c:pt>
                <c:pt idx="95">
                  <c:v>58465</c:v>
                </c:pt>
                <c:pt idx="96">
                  <c:v>58552</c:v>
                </c:pt>
                <c:pt idx="97">
                  <c:v>58610</c:v>
                </c:pt>
                <c:pt idx="98">
                  <c:v>58648</c:v>
                </c:pt>
                <c:pt idx="99">
                  <c:v>58677</c:v>
                </c:pt>
                <c:pt idx="100">
                  <c:v>58906</c:v>
                </c:pt>
                <c:pt idx="101">
                  <c:v>59169</c:v>
                </c:pt>
                <c:pt idx="102">
                  <c:v>59709</c:v>
                </c:pt>
                <c:pt idx="103">
                  <c:v>60212</c:v>
                </c:pt>
                <c:pt idx="104">
                  <c:v>60385</c:v>
                </c:pt>
                <c:pt idx="105">
                  <c:v>60501</c:v>
                </c:pt>
                <c:pt idx="106">
                  <c:v>60878</c:v>
                </c:pt>
                <c:pt idx="107">
                  <c:v>61191</c:v>
                </c:pt>
                <c:pt idx="108">
                  <c:v>61576</c:v>
                </c:pt>
                <c:pt idx="109">
                  <c:v>62128</c:v>
                </c:pt>
                <c:pt idx="110">
                  <c:v>62775</c:v>
                </c:pt>
                <c:pt idx="111">
                  <c:v>62953</c:v>
                </c:pt>
                <c:pt idx="112">
                  <c:v>63147</c:v>
                </c:pt>
                <c:pt idx="113">
                  <c:v>63605</c:v>
                </c:pt>
                <c:pt idx="114">
                  <c:v>64031</c:v>
                </c:pt>
                <c:pt idx="115">
                  <c:v>64531</c:v>
                </c:pt>
                <c:pt idx="116">
                  <c:v>65131</c:v>
                </c:pt>
                <c:pt idx="117">
                  <c:v>65778</c:v>
                </c:pt>
                <c:pt idx="118">
                  <c:v>65962</c:v>
                </c:pt>
                <c:pt idx="119">
                  <c:v>66113</c:v>
                </c:pt>
                <c:pt idx="120">
                  <c:v>66594</c:v>
                </c:pt>
                <c:pt idx="121">
                  <c:v>67016</c:v>
                </c:pt>
                <c:pt idx="122">
                  <c:v>67584</c:v>
                </c:pt>
                <c:pt idx="123">
                  <c:v>68171</c:v>
                </c:pt>
                <c:pt idx="124">
                  <c:v>68789</c:v>
                </c:pt>
                <c:pt idx="125">
                  <c:v>68943</c:v>
                </c:pt>
                <c:pt idx="126">
                  <c:v>69098</c:v>
                </c:pt>
                <c:pt idx="127">
                  <c:v>69554</c:v>
                </c:pt>
                <c:pt idx="128">
                  <c:v>70013</c:v>
                </c:pt>
                <c:pt idx="129">
                  <c:v>70539</c:v>
                </c:pt>
                <c:pt idx="130">
                  <c:v>71071</c:v>
                </c:pt>
                <c:pt idx="131">
                  <c:v>71633</c:v>
                </c:pt>
                <c:pt idx="132">
                  <c:v>71855</c:v>
                </c:pt>
                <c:pt idx="133">
                  <c:v>72025</c:v>
                </c:pt>
                <c:pt idx="134">
                  <c:v>72501</c:v>
                </c:pt>
                <c:pt idx="135">
                  <c:v>72933</c:v>
                </c:pt>
                <c:pt idx="136">
                  <c:v>73410</c:v>
                </c:pt>
                <c:pt idx="137">
                  <c:v>73959</c:v>
                </c:pt>
                <c:pt idx="138">
                  <c:v>74470</c:v>
                </c:pt>
                <c:pt idx="139">
                  <c:v>74679</c:v>
                </c:pt>
                <c:pt idx="140">
                  <c:v>74829</c:v>
                </c:pt>
                <c:pt idx="141">
                  <c:v>75219</c:v>
                </c:pt>
                <c:pt idx="142">
                  <c:v>75637</c:v>
                </c:pt>
                <c:pt idx="143">
                  <c:v>76101</c:v>
                </c:pt>
                <c:pt idx="144">
                  <c:v>76547</c:v>
                </c:pt>
                <c:pt idx="145">
                  <c:v>77004</c:v>
                </c:pt>
                <c:pt idx="146">
                  <c:v>77182</c:v>
                </c:pt>
                <c:pt idx="147">
                  <c:v>77298</c:v>
                </c:pt>
                <c:pt idx="148">
                  <c:v>77587</c:v>
                </c:pt>
                <c:pt idx="149">
                  <c:v>77917</c:v>
                </c:pt>
                <c:pt idx="150">
                  <c:v>78329</c:v>
                </c:pt>
                <c:pt idx="151">
                  <c:v>78702</c:v>
                </c:pt>
                <c:pt idx="152">
                  <c:v>79142</c:v>
                </c:pt>
                <c:pt idx="153">
                  <c:v>79329</c:v>
                </c:pt>
                <c:pt idx="154">
                  <c:v>79496</c:v>
                </c:pt>
                <c:pt idx="155">
                  <c:v>79839</c:v>
                </c:pt>
                <c:pt idx="156">
                  <c:v>80211</c:v>
                </c:pt>
                <c:pt idx="157">
                  <c:v>80663</c:v>
                </c:pt>
                <c:pt idx="158">
                  <c:v>81080</c:v>
                </c:pt>
                <c:pt idx="159">
                  <c:v>81547</c:v>
                </c:pt>
                <c:pt idx="160">
                  <c:v>81809</c:v>
                </c:pt>
                <c:pt idx="161">
                  <c:v>82053</c:v>
                </c:pt>
                <c:pt idx="162">
                  <c:v>82532</c:v>
                </c:pt>
                <c:pt idx="163">
                  <c:v>83080</c:v>
                </c:pt>
                <c:pt idx="164">
                  <c:v>83569</c:v>
                </c:pt>
                <c:pt idx="165">
                  <c:v>84003</c:v>
                </c:pt>
                <c:pt idx="166">
                  <c:v>84468</c:v>
                </c:pt>
                <c:pt idx="167">
                  <c:v>84761</c:v>
                </c:pt>
                <c:pt idx="168">
                  <c:v>84989</c:v>
                </c:pt>
                <c:pt idx="169">
                  <c:v>85345</c:v>
                </c:pt>
                <c:pt idx="170">
                  <c:v>85781</c:v>
                </c:pt>
                <c:pt idx="171">
                  <c:v>86171</c:v>
                </c:pt>
                <c:pt idx="172">
                  <c:v>86540</c:v>
                </c:pt>
                <c:pt idx="173">
                  <c:v>86922</c:v>
                </c:pt>
                <c:pt idx="174">
                  <c:v>87113</c:v>
                </c:pt>
                <c:pt idx="175">
                  <c:v>87255</c:v>
                </c:pt>
                <c:pt idx="176">
                  <c:v>87554</c:v>
                </c:pt>
                <c:pt idx="177">
                  <c:v>87873</c:v>
                </c:pt>
                <c:pt idx="178">
                  <c:v>88130</c:v>
                </c:pt>
                <c:pt idx="179">
                  <c:v>88420</c:v>
                </c:pt>
                <c:pt idx="180">
                  <c:v>88680</c:v>
                </c:pt>
                <c:pt idx="181">
                  <c:v>88832</c:v>
                </c:pt>
                <c:pt idx="182">
                  <c:v>88945</c:v>
                </c:pt>
                <c:pt idx="183">
                  <c:v>89218</c:v>
                </c:pt>
                <c:pt idx="184">
                  <c:v>89467</c:v>
                </c:pt>
                <c:pt idx="185">
                  <c:v>89711</c:v>
                </c:pt>
                <c:pt idx="186">
                  <c:v>89890</c:v>
                </c:pt>
                <c:pt idx="187">
                  <c:v>90128</c:v>
                </c:pt>
                <c:pt idx="188">
                  <c:v>90179</c:v>
                </c:pt>
                <c:pt idx="189">
                  <c:v>90240</c:v>
                </c:pt>
                <c:pt idx="190">
                  <c:v>90298</c:v>
                </c:pt>
                <c:pt idx="191">
                  <c:v>90358</c:v>
                </c:pt>
                <c:pt idx="192">
                  <c:v>90566</c:v>
                </c:pt>
                <c:pt idx="193">
                  <c:v>90784</c:v>
                </c:pt>
                <c:pt idx="194">
                  <c:v>91009</c:v>
                </c:pt>
                <c:pt idx="195">
                  <c:v>91102</c:v>
                </c:pt>
                <c:pt idx="196">
                  <c:v>91160</c:v>
                </c:pt>
                <c:pt idx="197">
                  <c:v>91396</c:v>
                </c:pt>
                <c:pt idx="198">
                  <c:v>91616</c:v>
                </c:pt>
                <c:pt idx="199">
                  <c:v>91857</c:v>
                </c:pt>
                <c:pt idx="200">
                  <c:v>92106</c:v>
                </c:pt>
                <c:pt idx="201">
                  <c:v>92357</c:v>
                </c:pt>
                <c:pt idx="202">
                  <c:v>92467</c:v>
                </c:pt>
                <c:pt idx="203">
                  <c:v>92536</c:v>
                </c:pt>
                <c:pt idx="204">
                  <c:v>92740</c:v>
                </c:pt>
                <c:pt idx="205">
                  <c:v>92900</c:v>
                </c:pt>
                <c:pt idx="206">
                  <c:v>93121</c:v>
                </c:pt>
                <c:pt idx="207">
                  <c:v>93300</c:v>
                </c:pt>
                <c:pt idx="208">
                  <c:v>93513</c:v>
                </c:pt>
                <c:pt idx="209">
                  <c:v>93575</c:v>
                </c:pt>
                <c:pt idx="210">
                  <c:v>93630</c:v>
                </c:pt>
                <c:pt idx="211">
                  <c:v>93812</c:v>
                </c:pt>
                <c:pt idx="212">
                  <c:v>94011</c:v>
                </c:pt>
                <c:pt idx="213">
                  <c:v>94188</c:v>
                </c:pt>
                <c:pt idx="214">
                  <c:v>94348</c:v>
                </c:pt>
                <c:pt idx="215">
                  <c:v>94560</c:v>
                </c:pt>
                <c:pt idx="216">
                  <c:v>94626</c:v>
                </c:pt>
                <c:pt idx="217">
                  <c:v>94676</c:v>
                </c:pt>
                <c:pt idx="218">
                  <c:v>94823</c:v>
                </c:pt>
                <c:pt idx="219">
                  <c:v>94953</c:v>
                </c:pt>
                <c:pt idx="220">
                  <c:v>95098</c:v>
                </c:pt>
                <c:pt idx="221">
                  <c:v>95225</c:v>
                </c:pt>
                <c:pt idx="222">
                  <c:v>95354</c:v>
                </c:pt>
                <c:pt idx="223">
                  <c:v>95392</c:v>
                </c:pt>
                <c:pt idx="224">
                  <c:v>95426</c:v>
                </c:pt>
                <c:pt idx="225">
                  <c:v>95530</c:v>
                </c:pt>
                <c:pt idx="226">
                  <c:v>95646</c:v>
                </c:pt>
                <c:pt idx="227">
                  <c:v>95719</c:v>
                </c:pt>
                <c:pt idx="228">
                  <c:v>95824</c:v>
                </c:pt>
                <c:pt idx="229">
                  <c:v>95928</c:v>
                </c:pt>
                <c:pt idx="230">
                  <c:v>95954</c:v>
                </c:pt>
                <c:pt idx="231">
                  <c:v>95973</c:v>
                </c:pt>
                <c:pt idx="232">
                  <c:v>96054</c:v>
                </c:pt>
                <c:pt idx="233">
                  <c:v>96133</c:v>
                </c:pt>
                <c:pt idx="234">
                  <c:v>96216</c:v>
                </c:pt>
                <c:pt idx="235">
                  <c:v>96288</c:v>
                </c:pt>
                <c:pt idx="236">
                  <c:v>96386</c:v>
                </c:pt>
                <c:pt idx="237">
                  <c:v>96404</c:v>
                </c:pt>
                <c:pt idx="238">
                  <c:v>96423</c:v>
                </c:pt>
                <c:pt idx="239">
                  <c:v>96517</c:v>
                </c:pt>
                <c:pt idx="240">
                  <c:v>96593</c:v>
                </c:pt>
                <c:pt idx="241">
                  <c:v>96670</c:v>
                </c:pt>
                <c:pt idx="242">
                  <c:v>96733</c:v>
                </c:pt>
                <c:pt idx="243">
                  <c:v>96836</c:v>
                </c:pt>
                <c:pt idx="244">
                  <c:v>96862</c:v>
                </c:pt>
                <c:pt idx="245">
                  <c:v>96872</c:v>
                </c:pt>
                <c:pt idx="246">
                  <c:v>96951</c:v>
                </c:pt>
                <c:pt idx="247">
                  <c:v>97030</c:v>
                </c:pt>
                <c:pt idx="248">
                  <c:v>97079</c:v>
                </c:pt>
                <c:pt idx="249">
                  <c:v>97152</c:v>
                </c:pt>
                <c:pt idx="250">
                  <c:v>97245</c:v>
                </c:pt>
                <c:pt idx="251">
                  <c:v>97260</c:v>
                </c:pt>
                <c:pt idx="252">
                  <c:v>97278</c:v>
                </c:pt>
                <c:pt idx="253">
                  <c:v>97342</c:v>
                </c:pt>
                <c:pt idx="254">
                  <c:v>97377</c:v>
                </c:pt>
                <c:pt idx="255">
                  <c:v>97430</c:v>
                </c:pt>
                <c:pt idx="256">
                  <c:v>97489</c:v>
                </c:pt>
                <c:pt idx="257">
                  <c:v>97559</c:v>
                </c:pt>
                <c:pt idx="258">
                  <c:v>97575</c:v>
                </c:pt>
                <c:pt idx="259">
                  <c:v>97588</c:v>
                </c:pt>
                <c:pt idx="260">
                  <c:v>97636</c:v>
                </c:pt>
                <c:pt idx="261">
                  <c:v>97687</c:v>
                </c:pt>
                <c:pt idx="262">
                  <c:v>97730</c:v>
                </c:pt>
                <c:pt idx="263">
                  <c:v>97776</c:v>
                </c:pt>
                <c:pt idx="264">
                  <c:v>97848</c:v>
                </c:pt>
                <c:pt idx="265">
                  <c:v>97867</c:v>
                </c:pt>
                <c:pt idx="266">
                  <c:v>97873</c:v>
                </c:pt>
                <c:pt idx="267">
                  <c:v>97918</c:v>
                </c:pt>
                <c:pt idx="268">
                  <c:v>97965</c:v>
                </c:pt>
                <c:pt idx="269">
                  <c:v>98008</c:v>
                </c:pt>
                <c:pt idx="270">
                  <c:v>98066</c:v>
                </c:pt>
                <c:pt idx="271">
                  <c:v>98135</c:v>
                </c:pt>
                <c:pt idx="272">
                  <c:v>98151</c:v>
                </c:pt>
                <c:pt idx="273">
                  <c:v>98157</c:v>
                </c:pt>
                <c:pt idx="274">
                  <c:v>98199</c:v>
                </c:pt>
                <c:pt idx="275">
                  <c:v>98205</c:v>
                </c:pt>
                <c:pt idx="276">
                  <c:v>98232</c:v>
                </c:pt>
                <c:pt idx="277">
                  <c:v>98278</c:v>
                </c:pt>
                <c:pt idx="278">
                  <c:v>98316</c:v>
                </c:pt>
                <c:pt idx="279">
                  <c:v>98324</c:v>
                </c:pt>
                <c:pt idx="280">
                  <c:v>98331</c:v>
                </c:pt>
                <c:pt idx="281">
                  <c:v>98361</c:v>
                </c:pt>
                <c:pt idx="282">
                  <c:v>98390</c:v>
                </c:pt>
                <c:pt idx="283">
                  <c:v>98428</c:v>
                </c:pt>
                <c:pt idx="284">
                  <c:v>98452</c:v>
                </c:pt>
                <c:pt idx="285">
                  <c:v>98500</c:v>
                </c:pt>
                <c:pt idx="286">
                  <c:v>98509</c:v>
                </c:pt>
                <c:pt idx="287">
                  <c:v>98516</c:v>
                </c:pt>
                <c:pt idx="288">
                  <c:v>98544</c:v>
                </c:pt>
                <c:pt idx="289">
                  <c:v>98590</c:v>
                </c:pt>
                <c:pt idx="290">
                  <c:v>98627</c:v>
                </c:pt>
                <c:pt idx="291">
                  <c:v>98655</c:v>
                </c:pt>
                <c:pt idx="292">
                  <c:v>98713</c:v>
                </c:pt>
                <c:pt idx="293">
                  <c:v>98730</c:v>
                </c:pt>
                <c:pt idx="294">
                  <c:v>98741</c:v>
                </c:pt>
                <c:pt idx="295">
                  <c:v>98799</c:v>
                </c:pt>
                <c:pt idx="296">
                  <c:v>98831</c:v>
                </c:pt>
                <c:pt idx="297">
                  <c:v>98890</c:v>
                </c:pt>
                <c:pt idx="298">
                  <c:v>98990</c:v>
                </c:pt>
                <c:pt idx="299">
                  <c:v>99134</c:v>
                </c:pt>
                <c:pt idx="300">
                  <c:v>99184</c:v>
                </c:pt>
                <c:pt idx="301">
                  <c:v>99218</c:v>
                </c:pt>
                <c:pt idx="302">
                  <c:v>99335</c:v>
                </c:pt>
                <c:pt idx="303">
                  <c:v>99492</c:v>
                </c:pt>
                <c:pt idx="304">
                  <c:v>99662</c:v>
                </c:pt>
                <c:pt idx="305">
                  <c:v>99702</c:v>
                </c:pt>
                <c:pt idx="306">
                  <c:v>99883</c:v>
                </c:pt>
                <c:pt idx="307">
                  <c:v>99933</c:v>
                </c:pt>
                <c:pt idx="308">
                  <c:v>99968</c:v>
                </c:pt>
                <c:pt idx="309">
                  <c:v>100172</c:v>
                </c:pt>
                <c:pt idx="310">
                  <c:v>100349</c:v>
                </c:pt>
                <c:pt idx="311">
                  <c:v>100541</c:v>
                </c:pt>
                <c:pt idx="312">
                  <c:v>100749</c:v>
                </c:pt>
                <c:pt idx="313">
                  <c:v>101000</c:v>
                </c:pt>
                <c:pt idx="314">
                  <c:v>101073</c:v>
                </c:pt>
                <c:pt idx="315">
                  <c:v>101116</c:v>
                </c:pt>
                <c:pt idx="316">
                  <c:v>101300</c:v>
                </c:pt>
                <c:pt idx="317">
                  <c:v>101450</c:v>
                </c:pt>
                <c:pt idx="318">
                  <c:v>101614</c:v>
                </c:pt>
                <c:pt idx="319">
                  <c:v>101802</c:v>
                </c:pt>
                <c:pt idx="320">
                  <c:v>102068</c:v>
                </c:pt>
                <c:pt idx="321">
                  <c:v>102122</c:v>
                </c:pt>
                <c:pt idx="322">
                  <c:v>102160</c:v>
                </c:pt>
                <c:pt idx="323">
                  <c:v>102343</c:v>
                </c:pt>
                <c:pt idx="324">
                  <c:v>102553</c:v>
                </c:pt>
                <c:pt idx="325">
                  <c:v>102592</c:v>
                </c:pt>
                <c:pt idx="326">
                  <c:v>102832</c:v>
                </c:pt>
                <c:pt idx="327">
                  <c:v>103111</c:v>
                </c:pt>
                <c:pt idx="328">
                  <c:v>103190</c:v>
                </c:pt>
                <c:pt idx="329">
                  <c:v>103254</c:v>
                </c:pt>
                <c:pt idx="330">
                  <c:v>103441</c:v>
                </c:pt>
                <c:pt idx="331">
                  <c:v>103634</c:v>
                </c:pt>
                <c:pt idx="332">
                  <c:v>103835</c:v>
                </c:pt>
                <c:pt idx="333">
                  <c:v>104046</c:v>
                </c:pt>
                <c:pt idx="334">
                  <c:v>104266</c:v>
                </c:pt>
                <c:pt idx="335">
                  <c:v>104344</c:v>
                </c:pt>
                <c:pt idx="336">
                  <c:v>104367</c:v>
                </c:pt>
                <c:pt idx="337">
                  <c:v>104537</c:v>
                </c:pt>
                <c:pt idx="338">
                  <c:v>104684</c:v>
                </c:pt>
                <c:pt idx="339">
                  <c:v>104845</c:v>
                </c:pt>
                <c:pt idx="340">
                  <c:v>104957</c:v>
                </c:pt>
                <c:pt idx="341">
                  <c:v>105076</c:v>
                </c:pt>
                <c:pt idx="342">
                  <c:v>105098</c:v>
                </c:pt>
                <c:pt idx="343">
                  <c:v>105105</c:v>
                </c:pt>
                <c:pt idx="344">
                  <c:v>105176</c:v>
                </c:pt>
                <c:pt idx="345">
                  <c:v>105253</c:v>
                </c:pt>
                <c:pt idx="346">
                  <c:v>105341</c:v>
                </c:pt>
                <c:pt idx="347">
                  <c:v>105415</c:v>
                </c:pt>
                <c:pt idx="348">
                  <c:v>105502</c:v>
                </c:pt>
                <c:pt idx="349">
                  <c:v>105520</c:v>
                </c:pt>
                <c:pt idx="350">
                  <c:v>105533</c:v>
                </c:pt>
                <c:pt idx="351">
                  <c:v>105609</c:v>
                </c:pt>
                <c:pt idx="352">
                  <c:v>105682</c:v>
                </c:pt>
                <c:pt idx="353">
                  <c:v>105728</c:v>
                </c:pt>
                <c:pt idx="354">
                  <c:v>105802</c:v>
                </c:pt>
                <c:pt idx="355">
                  <c:v>105892</c:v>
                </c:pt>
                <c:pt idx="356">
                  <c:v>105918</c:v>
                </c:pt>
                <c:pt idx="357">
                  <c:v>105927</c:v>
                </c:pt>
                <c:pt idx="358">
                  <c:v>105983</c:v>
                </c:pt>
                <c:pt idx="359">
                  <c:v>106041</c:v>
                </c:pt>
                <c:pt idx="360">
                  <c:v>106080</c:v>
                </c:pt>
                <c:pt idx="361">
                  <c:v>106090</c:v>
                </c:pt>
                <c:pt idx="362">
                  <c:v>106090</c:v>
                </c:pt>
                <c:pt idx="363">
                  <c:v>106118</c:v>
                </c:pt>
                <c:pt idx="364">
                  <c:v>106147</c:v>
                </c:pt>
                <c:pt idx="365">
                  <c:v>106173</c:v>
                </c:pt>
                <c:pt idx="366">
                  <c:v>106207</c:v>
                </c:pt>
                <c:pt idx="367">
                  <c:v>106210</c:v>
                </c:pt>
                <c:pt idx="368">
                  <c:v>106213</c:v>
                </c:pt>
                <c:pt idx="369">
                  <c:v>106244</c:v>
                </c:pt>
                <c:pt idx="370">
                  <c:v>106286</c:v>
                </c:pt>
                <c:pt idx="371">
                  <c:v>106320</c:v>
                </c:pt>
                <c:pt idx="372">
                  <c:v>106371</c:v>
                </c:pt>
                <c:pt idx="373">
                  <c:v>106447</c:v>
                </c:pt>
                <c:pt idx="374">
                  <c:v>106458</c:v>
                </c:pt>
                <c:pt idx="375">
                  <c:v>106470</c:v>
                </c:pt>
                <c:pt idx="376">
                  <c:v>106508</c:v>
                </c:pt>
                <c:pt idx="377">
                  <c:v>106547</c:v>
                </c:pt>
                <c:pt idx="378">
                  <c:v>106594</c:v>
                </c:pt>
                <c:pt idx="379">
                  <c:v>106643</c:v>
                </c:pt>
                <c:pt idx="380">
                  <c:v>106703</c:v>
                </c:pt>
                <c:pt idx="381">
                  <c:v>106723</c:v>
                </c:pt>
                <c:pt idx="382">
                  <c:v>106733</c:v>
                </c:pt>
                <c:pt idx="383">
                  <c:v>106772</c:v>
                </c:pt>
                <c:pt idx="384">
                  <c:v>106820</c:v>
                </c:pt>
                <c:pt idx="385">
                  <c:v>106847</c:v>
                </c:pt>
                <c:pt idx="386">
                  <c:v>106872</c:v>
                </c:pt>
                <c:pt idx="387">
                  <c:v>106922</c:v>
                </c:pt>
                <c:pt idx="388">
                  <c:v>106926</c:v>
                </c:pt>
                <c:pt idx="389">
                  <c:v>106931</c:v>
                </c:pt>
                <c:pt idx="390">
                  <c:v>106952</c:v>
                </c:pt>
                <c:pt idx="391">
                  <c:v>106972</c:v>
                </c:pt>
                <c:pt idx="392">
                  <c:v>106994</c:v>
                </c:pt>
                <c:pt idx="393">
                  <c:v>107011</c:v>
                </c:pt>
                <c:pt idx="394">
                  <c:v>107037</c:v>
                </c:pt>
                <c:pt idx="395">
                  <c:v>107043</c:v>
                </c:pt>
                <c:pt idx="396">
                  <c:v>107045</c:v>
                </c:pt>
                <c:pt idx="397">
                  <c:v>107052</c:v>
                </c:pt>
                <c:pt idx="398">
                  <c:v>107062</c:v>
                </c:pt>
                <c:pt idx="399">
                  <c:v>107073</c:v>
                </c:pt>
                <c:pt idx="400">
                  <c:v>107081</c:v>
                </c:pt>
                <c:pt idx="401">
                  <c:v>107093</c:v>
                </c:pt>
                <c:pt idx="402">
                  <c:v>107094</c:v>
                </c:pt>
                <c:pt idx="403">
                  <c:v>107095</c:v>
                </c:pt>
                <c:pt idx="404">
                  <c:v>107102</c:v>
                </c:pt>
                <c:pt idx="405">
                  <c:v>107109</c:v>
                </c:pt>
                <c:pt idx="406">
                  <c:v>107114</c:v>
                </c:pt>
                <c:pt idx="407">
                  <c:v>107119</c:v>
                </c:pt>
                <c:pt idx="408">
                  <c:v>107133</c:v>
                </c:pt>
                <c:pt idx="409">
                  <c:v>107134</c:v>
                </c:pt>
                <c:pt idx="410">
                  <c:v>107136</c:v>
                </c:pt>
                <c:pt idx="411">
                  <c:v>107142</c:v>
                </c:pt>
                <c:pt idx="412">
                  <c:v>107147</c:v>
                </c:pt>
                <c:pt idx="413">
                  <c:v>107148</c:v>
                </c:pt>
                <c:pt idx="414">
                  <c:v>107149</c:v>
                </c:pt>
                <c:pt idx="415">
                  <c:v>107151</c:v>
                </c:pt>
                <c:pt idx="416">
                  <c:v>107154</c:v>
                </c:pt>
                <c:pt idx="417">
                  <c:v>107156</c:v>
                </c:pt>
                <c:pt idx="418">
                  <c:v>107156</c:v>
                </c:pt>
                <c:pt idx="419">
                  <c:v>107156</c:v>
                </c:pt>
                <c:pt idx="420">
                  <c:v>107159</c:v>
                </c:pt>
                <c:pt idx="421">
                  <c:v>107160</c:v>
                </c:pt>
                <c:pt idx="422">
                  <c:v>107163</c:v>
                </c:pt>
                <c:pt idx="423">
                  <c:v>107164</c:v>
                </c:pt>
                <c:pt idx="424">
                  <c:v>107164</c:v>
                </c:pt>
                <c:pt idx="425">
                  <c:v>107177</c:v>
                </c:pt>
                <c:pt idx="426">
                  <c:v>107178</c:v>
                </c:pt>
                <c:pt idx="427">
                  <c:v>107180</c:v>
                </c:pt>
                <c:pt idx="428">
                  <c:v>107183</c:v>
                </c:pt>
                <c:pt idx="429">
                  <c:v>107188</c:v>
                </c:pt>
                <c:pt idx="430">
                  <c:v>107197</c:v>
                </c:pt>
                <c:pt idx="431">
                  <c:v>107212</c:v>
                </c:pt>
                <c:pt idx="432">
                  <c:v>107214</c:v>
                </c:pt>
                <c:pt idx="433">
                  <c:v>107217</c:v>
                </c:pt>
                <c:pt idx="434">
                  <c:v>107217</c:v>
                </c:pt>
                <c:pt idx="435">
                  <c:v>107219</c:v>
                </c:pt>
                <c:pt idx="436">
                  <c:v>107221</c:v>
                </c:pt>
                <c:pt idx="437">
                  <c:v>107230</c:v>
                </c:pt>
                <c:pt idx="438">
                  <c:v>107232</c:v>
                </c:pt>
                <c:pt idx="439">
                  <c:v>107235</c:v>
                </c:pt>
                <c:pt idx="440">
                  <c:v>107237</c:v>
                </c:pt>
                <c:pt idx="441">
                  <c:v>107241</c:v>
                </c:pt>
                <c:pt idx="442">
                  <c:v>107250</c:v>
                </c:pt>
                <c:pt idx="443">
                  <c:v>107251</c:v>
                </c:pt>
                <c:pt idx="444">
                  <c:v>107252</c:v>
                </c:pt>
                <c:pt idx="445">
                  <c:v>107254</c:v>
                </c:pt>
                <c:pt idx="446">
                  <c:v>107257</c:v>
                </c:pt>
                <c:pt idx="447">
                  <c:v>107261</c:v>
                </c:pt>
                <c:pt idx="448">
                  <c:v>107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I$1:$QO$1</c:f>
              <c:strCache>
                <c:ptCount val="449"/>
                <c:pt idx="0">
                  <c:v>27.XII.20</c:v>
                </c:pt>
                <c:pt idx="1">
                  <c:v>28.XII.20</c:v>
                </c:pt>
                <c:pt idx="2">
                  <c:v>29.XII.20</c:v>
                </c:pt>
                <c:pt idx="3">
                  <c:v>30.XII.20</c:v>
                </c:pt>
                <c:pt idx="4">
                  <c:v>31.XII.20</c:v>
                </c:pt>
                <c:pt idx="5">
                  <c:v>1.I.21</c:v>
                </c:pt>
                <c:pt idx="6">
                  <c:v>2.I.21</c:v>
                </c:pt>
                <c:pt idx="7">
                  <c:v>3.I.21</c:v>
                </c:pt>
                <c:pt idx="8">
                  <c:v>4.I.21</c:v>
                </c:pt>
                <c:pt idx="9">
                  <c:v>5.I.21</c:v>
                </c:pt>
                <c:pt idx="10">
                  <c:v>6.I.21</c:v>
                </c:pt>
                <c:pt idx="11">
                  <c:v>7.I.21</c:v>
                </c:pt>
                <c:pt idx="12">
                  <c:v>8.I.21</c:v>
                </c:pt>
                <c:pt idx="13">
                  <c:v>9.I.21</c:v>
                </c:pt>
                <c:pt idx="14">
                  <c:v>10.I.21</c:v>
                </c:pt>
                <c:pt idx="15">
                  <c:v>11.I.21</c:v>
                </c:pt>
                <c:pt idx="16">
                  <c:v>12.I.21</c:v>
                </c:pt>
                <c:pt idx="17">
                  <c:v>13.I.21</c:v>
                </c:pt>
                <c:pt idx="18">
                  <c:v>14.I.21</c:v>
                </c:pt>
                <c:pt idx="19">
                  <c:v>15.I.21</c:v>
                </c:pt>
                <c:pt idx="20">
                  <c:v>16.I.21</c:v>
                </c:pt>
                <c:pt idx="21">
                  <c:v>17.I.21</c:v>
                </c:pt>
                <c:pt idx="22">
                  <c:v>18.I.21</c:v>
                </c:pt>
                <c:pt idx="23">
                  <c:v>19.I.21</c:v>
                </c:pt>
                <c:pt idx="24">
                  <c:v>20.I.21</c:v>
                </c:pt>
                <c:pt idx="25">
                  <c:v>21.I.21</c:v>
                </c:pt>
                <c:pt idx="26">
                  <c:v>22.I.21</c:v>
                </c:pt>
                <c:pt idx="27">
                  <c:v>23.I.21</c:v>
                </c:pt>
                <c:pt idx="28">
                  <c:v>24.I.21</c:v>
                </c:pt>
                <c:pt idx="29">
                  <c:v>25.I.21</c:v>
                </c:pt>
                <c:pt idx="30">
                  <c:v>26.I.21</c:v>
                </c:pt>
                <c:pt idx="31">
                  <c:v>27.I.21</c:v>
                </c:pt>
                <c:pt idx="32">
                  <c:v>28.I.21</c:v>
                </c:pt>
                <c:pt idx="33">
                  <c:v>29.I.21</c:v>
                </c:pt>
                <c:pt idx="34">
                  <c:v>30.I.21</c:v>
                </c:pt>
                <c:pt idx="35">
                  <c:v>31.I.21</c:v>
                </c:pt>
                <c:pt idx="36">
                  <c:v>1.II.21</c:v>
                </c:pt>
                <c:pt idx="37">
                  <c:v>2.II.21</c:v>
                </c:pt>
                <c:pt idx="38">
                  <c:v>3.II.21</c:v>
                </c:pt>
                <c:pt idx="39">
                  <c:v>4.II.21</c:v>
                </c:pt>
                <c:pt idx="40">
                  <c:v>5.II.21</c:v>
                </c:pt>
                <c:pt idx="41">
                  <c:v>6.II.21</c:v>
                </c:pt>
                <c:pt idx="42">
                  <c:v>7.II.21</c:v>
                </c:pt>
                <c:pt idx="43">
                  <c:v>8.II.21</c:v>
                </c:pt>
                <c:pt idx="44">
                  <c:v>9.II.21</c:v>
                </c:pt>
                <c:pt idx="45">
                  <c:v>10.II.21</c:v>
                </c:pt>
                <c:pt idx="46">
                  <c:v>11.II.21</c:v>
                </c:pt>
                <c:pt idx="47">
                  <c:v>12.II.21</c:v>
                </c:pt>
                <c:pt idx="48">
                  <c:v>13.II.21</c:v>
                </c:pt>
                <c:pt idx="49">
                  <c:v>14.II.21</c:v>
                </c:pt>
                <c:pt idx="50">
                  <c:v>15.II.21</c:v>
                </c:pt>
                <c:pt idx="51">
                  <c:v>16.II.21</c:v>
                </c:pt>
                <c:pt idx="52">
                  <c:v>17.II.21</c:v>
                </c:pt>
                <c:pt idx="53">
                  <c:v>18.II.21</c:v>
                </c:pt>
                <c:pt idx="54">
                  <c:v>19.II.21</c:v>
                </c:pt>
                <c:pt idx="55">
                  <c:v>20.II.21</c:v>
                </c:pt>
                <c:pt idx="56">
                  <c:v>21.II.21</c:v>
                </c:pt>
                <c:pt idx="57">
                  <c:v>22.II.21</c:v>
                </c:pt>
                <c:pt idx="58">
                  <c:v>23.II.21</c:v>
                </c:pt>
                <c:pt idx="59">
                  <c:v>24.II.21</c:v>
                </c:pt>
                <c:pt idx="60">
                  <c:v>25.II.21</c:v>
                </c:pt>
                <c:pt idx="61">
                  <c:v>26.II.21</c:v>
                </c:pt>
                <c:pt idx="62">
                  <c:v>27.II.21</c:v>
                </c:pt>
                <c:pt idx="63">
                  <c:v>28.II.21</c:v>
                </c:pt>
                <c:pt idx="64">
                  <c:v>1.III.21</c:v>
                </c:pt>
                <c:pt idx="65">
                  <c:v>2.III.21</c:v>
                </c:pt>
                <c:pt idx="66">
                  <c:v>3.III.21</c:v>
                </c:pt>
                <c:pt idx="67">
                  <c:v>4.III.21</c:v>
                </c:pt>
                <c:pt idx="68">
                  <c:v>5.III.21</c:v>
                </c:pt>
                <c:pt idx="69">
                  <c:v>6.III.21</c:v>
                </c:pt>
                <c:pt idx="70">
                  <c:v>7.III.21</c:v>
                </c:pt>
                <c:pt idx="71">
                  <c:v>8.III.21</c:v>
                </c:pt>
                <c:pt idx="72">
                  <c:v>9.III.21</c:v>
                </c:pt>
                <c:pt idx="73">
                  <c:v>10.III.21</c:v>
                </c:pt>
                <c:pt idx="74">
                  <c:v>11.III.21</c:v>
                </c:pt>
                <c:pt idx="75">
                  <c:v>12.III.21</c:v>
                </c:pt>
                <c:pt idx="76">
                  <c:v>13.III.21</c:v>
                </c:pt>
                <c:pt idx="77">
                  <c:v>14.III.21</c:v>
                </c:pt>
                <c:pt idx="78">
                  <c:v>15.III.21</c:v>
                </c:pt>
                <c:pt idx="79">
                  <c:v>16.III.21</c:v>
                </c:pt>
                <c:pt idx="80">
                  <c:v>17.III.21</c:v>
                </c:pt>
                <c:pt idx="81">
                  <c:v>18.III.21</c:v>
                </c:pt>
                <c:pt idx="82">
                  <c:v>19.III.21</c:v>
                </c:pt>
                <c:pt idx="83">
                  <c:v>20.III.21</c:v>
                </c:pt>
                <c:pt idx="84">
                  <c:v>21.III.21</c:v>
                </c:pt>
                <c:pt idx="85">
                  <c:v>22.III.21</c:v>
                </c:pt>
                <c:pt idx="86">
                  <c:v>23.III.21</c:v>
                </c:pt>
                <c:pt idx="87">
                  <c:v>24.III.21</c:v>
                </c:pt>
                <c:pt idx="88">
                  <c:v>25.III.21</c:v>
                </c:pt>
                <c:pt idx="89">
                  <c:v>26.III.21</c:v>
                </c:pt>
                <c:pt idx="90">
                  <c:v>27.III.21</c:v>
                </c:pt>
                <c:pt idx="91">
                  <c:v>28.III.21</c:v>
                </c:pt>
                <c:pt idx="92">
                  <c:v>29.III.21</c:v>
                </c:pt>
                <c:pt idx="93">
                  <c:v>30.III.21</c:v>
                </c:pt>
                <c:pt idx="94">
                  <c:v>31.III.21</c:v>
                </c:pt>
                <c:pt idx="95">
                  <c:v>1.IV.21</c:v>
                </c:pt>
                <c:pt idx="96">
                  <c:v>2.IV.21</c:v>
                </c:pt>
                <c:pt idx="97">
                  <c:v>3.IV.21</c:v>
                </c:pt>
                <c:pt idx="98">
                  <c:v>4.IV.21</c:v>
                </c:pt>
                <c:pt idx="99">
                  <c:v>5.IV.21</c:v>
                </c:pt>
                <c:pt idx="100">
                  <c:v>6.IV.21</c:v>
                </c:pt>
                <c:pt idx="101">
                  <c:v>7.IV.21</c:v>
                </c:pt>
                <c:pt idx="102">
                  <c:v>8.IV.21</c:v>
                </c:pt>
                <c:pt idx="103">
                  <c:v>9.IV.21</c:v>
                </c:pt>
                <c:pt idx="104">
                  <c:v>10.IV.21</c:v>
                </c:pt>
                <c:pt idx="105">
                  <c:v>11.IV.21</c:v>
                </c:pt>
                <c:pt idx="106">
                  <c:v>12.IV.21</c:v>
                </c:pt>
                <c:pt idx="107">
                  <c:v>13.IV.21</c:v>
                </c:pt>
                <c:pt idx="108">
                  <c:v>14.IV.21</c:v>
                </c:pt>
                <c:pt idx="109">
                  <c:v>15.IV.21</c:v>
                </c:pt>
                <c:pt idx="110">
                  <c:v>16.IV.21</c:v>
                </c:pt>
                <c:pt idx="111">
                  <c:v>17.IV.21</c:v>
                </c:pt>
                <c:pt idx="112">
                  <c:v>18.IV.21</c:v>
                </c:pt>
                <c:pt idx="113">
                  <c:v>19.IV.21</c:v>
                </c:pt>
                <c:pt idx="114">
                  <c:v>20.IV.21</c:v>
                </c:pt>
                <c:pt idx="115">
                  <c:v>21.IV.21</c:v>
                </c:pt>
                <c:pt idx="116">
                  <c:v>22.IV.21</c:v>
                </c:pt>
                <c:pt idx="117">
                  <c:v>23.IV.21</c:v>
                </c:pt>
                <c:pt idx="118">
                  <c:v>24.IV.21</c:v>
                </c:pt>
                <c:pt idx="119">
                  <c:v>25.IV.21</c:v>
                </c:pt>
                <c:pt idx="120">
                  <c:v>26.IV.21</c:v>
                </c:pt>
                <c:pt idx="121">
                  <c:v>27.IV.21</c:v>
                </c:pt>
                <c:pt idx="122">
                  <c:v>28.IV.21</c:v>
                </c:pt>
                <c:pt idx="123">
                  <c:v>29.IV.21</c:v>
                </c:pt>
                <c:pt idx="124">
                  <c:v>30.IV.21</c:v>
                </c:pt>
                <c:pt idx="125">
                  <c:v>1.V.21</c:v>
                </c:pt>
                <c:pt idx="126">
                  <c:v>2.V.21</c:v>
                </c:pt>
                <c:pt idx="127">
                  <c:v>3.V.21</c:v>
                </c:pt>
                <c:pt idx="128">
                  <c:v>4.V.21</c:v>
                </c:pt>
                <c:pt idx="129">
                  <c:v>5.V.21</c:v>
                </c:pt>
                <c:pt idx="130">
                  <c:v>6.V.21</c:v>
                </c:pt>
                <c:pt idx="131">
                  <c:v>7.V.21</c:v>
                </c:pt>
                <c:pt idx="132">
                  <c:v>8.V.21</c:v>
                </c:pt>
                <c:pt idx="133">
                  <c:v>9.V.21</c:v>
                </c:pt>
                <c:pt idx="134">
                  <c:v>10.V.21</c:v>
                </c:pt>
                <c:pt idx="135">
                  <c:v>11.V.21</c:v>
                </c:pt>
                <c:pt idx="136">
                  <c:v>12.V.21</c:v>
                </c:pt>
                <c:pt idx="137">
                  <c:v>13.V.21</c:v>
                </c:pt>
                <c:pt idx="138">
                  <c:v>14.V.21</c:v>
                </c:pt>
                <c:pt idx="139">
                  <c:v>15.V.21</c:v>
                </c:pt>
                <c:pt idx="140">
                  <c:v>16.V.21</c:v>
                </c:pt>
                <c:pt idx="141">
                  <c:v>17.V.21</c:v>
                </c:pt>
                <c:pt idx="142">
                  <c:v>18.V.21</c:v>
                </c:pt>
                <c:pt idx="143">
                  <c:v>19.V.21</c:v>
                </c:pt>
                <c:pt idx="144">
                  <c:v>20.V.21</c:v>
                </c:pt>
                <c:pt idx="145">
                  <c:v>21.V.21</c:v>
                </c:pt>
                <c:pt idx="146">
                  <c:v>22.V.21</c:v>
                </c:pt>
                <c:pt idx="147">
                  <c:v>23.V.21</c:v>
                </c:pt>
                <c:pt idx="148">
                  <c:v>24.V.21</c:v>
                </c:pt>
                <c:pt idx="149">
                  <c:v>25.V.21</c:v>
                </c:pt>
                <c:pt idx="150">
                  <c:v>26.V.21</c:v>
                </c:pt>
                <c:pt idx="151">
                  <c:v>27.V.21</c:v>
                </c:pt>
                <c:pt idx="152">
                  <c:v>28.V.21</c:v>
                </c:pt>
                <c:pt idx="153">
                  <c:v>29.V.21</c:v>
                </c:pt>
                <c:pt idx="154">
                  <c:v>30.V.21</c:v>
                </c:pt>
                <c:pt idx="155">
                  <c:v>31.V.21</c:v>
                </c:pt>
                <c:pt idx="156">
                  <c:v>1.VI.21</c:v>
                </c:pt>
                <c:pt idx="157">
                  <c:v>2.VI.21</c:v>
                </c:pt>
                <c:pt idx="158">
                  <c:v>3.VI.21</c:v>
                </c:pt>
                <c:pt idx="159">
                  <c:v>4.VI.21</c:v>
                </c:pt>
                <c:pt idx="160">
                  <c:v>5.VI.21</c:v>
                </c:pt>
                <c:pt idx="161">
                  <c:v>6.VI.21</c:v>
                </c:pt>
                <c:pt idx="162">
                  <c:v>7.VI.21</c:v>
                </c:pt>
                <c:pt idx="163">
                  <c:v>8.VI.21</c:v>
                </c:pt>
                <c:pt idx="164">
                  <c:v>9.VI.21</c:v>
                </c:pt>
                <c:pt idx="165">
                  <c:v>10.VI.21</c:v>
                </c:pt>
                <c:pt idx="166">
                  <c:v>11.VI.21</c:v>
                </c:pt>
                <c:pt idx="167">
                  <c:v>12.VI.21</c:v>
                </c:pt>
                <c:pt idx="168">
                  <c:v>13.VI.21</c:v>
                </c:pt>
                <c:pt idx="169">
                  <c:v>14.VI.21</c:v>
                </c:pt>
                <c:pt idx="170">
                  <c:v>15.VI.21</c:v>
                </c:pt>
                <c:pt idx="171">
                  <c:v>16.VI.21</c:v>
                </c:pt>
                <c:pt idx="172">
                  <c:v>17.VI.21</c:v>
                </c:pt>
                <c:pt idx="173">
                  <c:v>18.VI.21</c:v>
                </c:pt>
                <c:pt idx="174">
                  <c:v>19.VI.21</c:v>
                </c:pt>
                <c:pt idx="175">
                  <c:v>20.VI.21</c:v>
                </c:pt>
                <c:pt idx="176">
                  <c:v>21.VI.21</c:v>
                </c:pt>
                <c:pt idx="177">
                  <c:v>22.VI.21</c:v>
                </c:pt>
                <c:pt idx="178">
                  <c:v>23.VI.21</c:v>
                </c:pt>
                <c:pt idx="179">
                  <c:v>24.VI.21</c:v>
                </c:pt>
                <c:pt idx="180">
                  <c:v>25.VI.21</c:v>
                </c:pt>
                <c:pt idx="181">
                  <c:v>26.VI.21</c:v>
                </c:pt>
                <c:pt idx="182">
                  <c:v>27.VI.21</c:v>
                </c:pt>
                <c:pt idx="183">
                  <c:v>28.VI.21</c:v>
                </c:pt>
                <c:pt idx="184">
                  <c:v>29.VI.21</c:v>
                </c:pt>
                <c:pt idx="185">
                  <c:v>30.VI.21</c:v>
                </c:pt>
                <c:pt idx="186">
                  <c:v>1.VII.21</c:v>
                </c:pt>
                <c:pt idx="187">
                  <c:v>2.VII.21</c:v>
                </c:pt>
                <c:pt idx="188">
                  <c:v>3.VII.21</c:v>
                </c:pt>
                <c:pt idx="189">
                  <c:v>4.VII.21</c:v>
                </c:pt>
                <c:pt idx="190">
                  <c:v>5.VII.21</c:v>
                </c:pt>
                <c:pt idx="191">
                  <c:v>6.VII.21</c:v>
                </c:pt>
                <c:pt idx="192">
                  <c:v>7.VII.21</c:v>
                </c:pt>
                <c:pt idx="193">
                  <c:v>8.VII.21</c:v>
                </c:pt>
                <c:pt idx="194">
                  <c:v>9.VII.21</c:v>
                </c:pt>
                <c:pt idx="195">
                  <c:v>10.VII.21</c:v>
                </c:pt>
                <c:pt idx="196">
                  <c:v>11.VII.21</c:v>
                </c:pt>
                <c:pt idx="197">
                  <c:v>12.VII.21</c:v>
                </c:pt>
                <c:pt idx="198">
                  <c:v>13.VII.21</c:v>
                </c:pt>
                <c:pt idx="199">
                  <c:v>14.VII.21</c:v>
                </c:pt>
                <c:pt idx="200">
                  <c:v>15.VII.21</c:v>
                </c:pt>
                <c:pt idx="201">
                  <c:v>16.VII.21</c:v>
                </c:pt>
                <c:pt idx="202">
                  <c:v>17.VII.21</c:v>
                </c:pt>
                <c:pt idx="203">
                  <c:v>18.VII.21</c:v>
                </c:pt>
                <c:pt idx="204">
                  <c:v>19.VII.21</c:v>
                </c:pt>
                <c:pt idx="205">
                  <c:v>20.VII.21</c:v>
                </c:pt>
                <c:pt idx="206">
                  <c:v>21.VII.21</c:v>
                </c:pt>
                <c:pt idx="207">
                  <c:v>22.VII.21</c:v>
                </c:pt>
                <c:pt idx="208">
                  <c:v>23.VII.21</c:v>
                </c:pt>
                <c:pt idx="209">
                  <c:v>24.VII.21</c:v>
                </c:pt>
                <c:pt idx="210">
                  <c:v>25.VII.21</c:v>
                </c:pt>
                <c:pt idx="211">
                  <c:v>26.VII.21</c:v>
                </c:pt>
                <c:pt idx="212">
                  <c:v>27.VII.21</c:v>
                </c:pt>
                <c:pt idx="213">
                  <c:v>28.VII.21</c:v>
                </c:pt>
                <c:pt idx="214">
                  <c:v>29.VII.21</c:v>
                </c:pt>
                <c:pt idx="215">
                  <c:v>30.VII.21</c:v>
                </c:pt>
                <c:pt idx="216">
                  <c:v>31.VII.21</c:v>
                </c:pt>
                <c:pt idx="217">
                  <c:v>1.VIII.21</c:v>
                </c:pt>
                <c:pt idx="218">
                  <c:v>2.VIII.21</c:v>
                </c:pt>
                <c:pt idx="219">
                  <c:v>3.VIII.21</c:v>
                </c:pt>
                <c:pt idx="220">
                  <c:v>4.VIII.21</c:v>
                </c:pt>
                <c:pt idx="221">
                  <c:v>5.VIII.21</c:v>
                </c:pt>
                <c:pt idx="222">
                  <c:v>6.VIII.21</c:v>
                </c:pt>
                <c:pt idx="223">
                  <c:v>7.VIII.21</c:v>
                </c:pt>
                <c:pt idx="224">
                  <c:v>8.VIII.21</c:v>
                </c:pt>
                <c:pt idx="225">
                  <c:v>9.VIII.21</c:v>
                </c:pt>
                <c:pt idx="226">
                  <c:v>10.VIII.21</c:v>
                </c:pt>
                <c:pt idx="227">
                  <c:v>11.VIII.21</c:v>
                </c:pt>
                <c:pt idx="228">
                  <c:v>12.VIII.21</c:v>
                </c:pt>
                <c:pt idx="229">
                  <c:v>13.VIII.21</c:v>
                </c:pt>
                <c:pt idx="230">
                  <c:v>14.VIII.21</c:v>
                </c:pt>
                <c:pt idx="231">
                  <c:v>15.VIII.21</c:v>
                </c:pt>
                <c:pt idx="232">
                  <c:v>16.VIII.21</c:v>
                </c:pt>
                <c:pt idx="233">
                  <c:v>17.VIII.21</c:v>
                </c:pt>
                <c:pt idx="234">
                  <c:v>18.VIII.21</c:v>
                </c:pt>
                <c:pt idx="235">
                  <c:v>19.VIII.21</c:v>
                </c:pt>
                <c:pt idx="236">
                  <c:v>20.VIII.21</c:v>
                </c:pt>
                <c:pt idx="237">
                  <c:v>21.VIII.21</c:v>
                </c:pt>
                <c:pt idx="238">
                  <c:v>22.VIII.21</c:v>
                </c:pt>
                <c:pt idx="239">
                  <c:v>23.VIII.21</c:v>
                </c:pt>
                <c:pt idx="240">
                  <c:v>24.VIII.21</c:v>
                </c:pt>
                <c:pt idx="241">
                  <c:v>25.VIII.21</c:v>
                </c:pt>
                <c:pt idx="242">
                  <c:v>26.VIII.21</c:v>
                </c:pt>
                <c:pt idx="243">
                  <c:v>27.VIII.21</c:v>
                </c:pt>
                <c:pt idx="244">
                  <c:v>28.VIII.21</c:v>
                </c:pt>
                <c:pt idx="245">
                  <c:v>29.VIII.21</c:v>
                </c:pt>
                <c:pt idx="246">
                  <c:v>30.VIII.21</c:v>
                </c:pt>
                <c:pt idx="247">
                  <c:v>31.VIII.21</c:v>
                </c:pt>
                <c:pt idx="248">
                  <c:v>1.IX.21</c:v>
                </c:pt>
                <c:pt idx="249">
                  <c:v>2.IX.21</c:v>
                </c:pt>
                <c:pt idx="250">
                  <c:v>3.IX.21</c:v>
                </c:pt>
                <c:pt idx="251">
                  <c:v>4.IX.21</c:v>
                </c:pt>
                <c:pt idx="252">
                  <c:v>5.IX.21</c:v>
                </c:pt>
                <c:pt idx="253">
                  <c:v>6.IX.21</c:v>
                </c:pt>
                <c:pt idx="254">
                  <c:v>7.IX.21</c:v>
                </c:pt>
                <c:pt idx="255">
                  <c:v>8.IX.21</c:v>
                </c:pt>
                <c:pt idx="256">
                  <c:v>9.IX.21</c:v>
                </c:pt>
                <c:pt idx="257">
                  <c:v>10.IX.21</c:v>
                </c:pt>
                <c:pt idx="258">
                  <c:v>11.IX.21</c:v>
                </c:pt>
                <c:pt idx="259">
                  <c:v>12.IX.21</c:v>
                </c:pt>
                <c:pt idx="260">
                  <c:v>13.IX.21</c:v>
                </c:pt>
                <c:pt idx="261">
                  <c:v>14.IX.21</c:v>
                </c:pt>
                <c:pt idx="262">
                  <c:v>15.IX.21</c:v>
                </c:pt>
                <c:pt idx="263">
                  <c:v>16.IX.21</c:v>
                </c:pt>
                <c:pt idx="264">
                  <c:v>17.IX.21</c:v>
                </c:pt>
                <c:pt idx="265">
                  <c:v>18.IX.21</c:v>
                </c:pt>
                <c:pt idx="266">
                  <c:v>19.IX.21</c:v>
                </c:pt>
                <c:pt idx="267">
                  <c:v>20.IX.21</c:v>
                </c:pt>
                <c:pt idx="268">
                  <c:v>21.IX.21</c:v>
                </c:pt>
                <c:pt idx="269">
                  <c:v>22.IX.21</c:v>
                </c:pt>
                <c:pt idx="270">
                  <c:v>23.IX.21</c:v>
                </c:pt>
                <c:pt idx="271">
                  <c:v>24.IX.21</c:v>
                </c:pt>
                <c:pt idx="272">
                  <c:v>25.IX.21</c:v>
                </c:pt>
                <c:pt idx="273">
                  <c:v>26.IX.21</c:v>
                </c:pt>
                <c:pt idx="274">
                  <c:v>27.IX.21</c:v>
                </c:pt>
                <c:pt idx="275">
                  <c:v>28.IX.21</c:v>
                </c:pt>
                <c:pt idx="276">
                  <c:v>29.IX.21</c:v>
                </c:pt>
                <c:pt idx="277">
                  <c:v>30.IX.21</c:v>
                </c:pt>
                <c:pt idx="278">
                  <c:v>1.X.21</c:v>
                </c:pt>
                <c:pt idx="279">
                  <c:v>2.X.21</c:v>
                </c:pt>
                <c:pt idx="280">
                  <c:v>3.X.21</c:v>
                </c:pt>
                <c:pt idx="281">
                  <c:v>4.X.21</c:v>
                </c:pt>
                <c:pt idx="282">
                  <c:v>5.X.21</c:v>
                </c:pt>
                <c:pt idx="283">
                  <c:v>6.X.21</c:v>
                </c:pt>
                <c:pt idx="284">
                  <c:v>7.X.21</c:v>
                </c:pt>
                <c:pt idx="285">
                  <c:v>8.X.21</c:v>
                </c:pt>
                <c:pt idx="286">
                  <c:v>9.X.21</c:v>
                </c:pt>
                <c:pt idx="287">
                  <c:v>10.X.21</c:v>
                </c:pt>
                <c:pt idx="288">
                  <c:v>11.X.21</c:v>
                </c:pt>
                <c:pt idx="289">
                  <c:v>12.X.21</c:v>
                </c:pt>
                <c:pt idx="290">
                  <c:v>13.X.21</c:v>
                </c:pt>
                <c:pt idx="291">
                  <c:v>14.X.21</c:v>
                </c:pt>
                <c:pt idx="292">
                  <c:v>15.X.21</c:v>
                </c:pt>
                <c:pt idx="293">
                  <c:v>16.X.21</c:v>
                </c:pt>
                <c:pt idx="294">
                  <c:v>17.X.21</c:v>
                </c:pt>
                <c:pt idx="295">
                  <c:v>18.X.21</c:v>
                </c:pt>
                <c:pt idx="296">
                  <c:v>19.X.21</c:v>
                </c:pt>
                <c:pt idx="297">
                  <c:v>20.X.21</c:v>
                </c:pt>
                <c:pt idx="298">
                  <c:v>21.X.21</c:v>
                </c:pt>
                <c:pt idx="299">
                  <c:v>22.X.21</c:v>
                </c:pt>
                <c:pt idx="300">
                  <c:v>23.X.21</c:v>
                </c:pt>
                <c:pt idx="301">
                  <c:v>24.X.21</c:v>
                </c:pt>
                <c:pt idx="302">
                  <c:v>25.X.21</c:v>
                </c:pt>
                <c:pt idx="303">
                  <c:v>26.X.21</c:v>
                </c:pt>
                <c:pt idx="304">
                  <c:v>27.X.21</c:v>
                </c:pt>
                <c:pt idx="305">
                  <c:v>28.X.21</c:v>
                </c:pt>
                <c:pt idx="306">
                  <c:v>29.X.21</c:v>
                </c:pt>
                <c:pt idx="307">
                  <c:v>30.X.21</c:v>
                </c:pt>
                <c:pt idx="308">
                  <c:v>31.X.21</c:v>
                </c:pt>
                <c:pt idx="309">
                  <c:v>1.XI.21</c:v>
                </c:pt>
                <c:pt idx="310">
                  <c:v>2.XI.21</c:v>
                </c:pt>
                <c:pt idx="311">
                  <c:v>3.XI.21</c:v>
                </c:pt>
                <c:pt idx="312">
                  <c:v>4.XI.21</c:v>
                </c:pt>
                <c:pt idx="313">
                  <c:v>5.XI.21</c:v>
                </c:pt>
                <c:pt idx="314">
                  <c:v>6.XI.21</c:v>
                </c:pt>
                <c:pt idx="315">
                  <c:v>7.XI.21</c:v>
                </c:pt>
                <c:pt idx="316">
                  <c:v>8.XI.21</c:v>
                </c:pt>
                <c:pt idx="317">
                  <c:v>9.XI.21</c:v>
                </c:pt>
                <c:pt idx="318">
                  <c:v>10.XI.21</c:v>
                </c:pt>
                <c:pt idx="319">
                  <c:v>11.XI.21</c:v>
                </c:pt>
                <c:pt idx="320">
                  <c:v>12.XI.21</c:v>
                </c:pt>
                <c:pt idx="321">
                  <c:v>13.XI.21</c:v>
                </c:pt>
                <c:pt idx="322">
                  <c:v>14.XI.21</c:v>
                </c:pt>
                <c:pt idx="323">
                  <c:v>15.XI.21</c:v>
                </c:pt>
                <c:pt idx="324">
                  <c:v>16.XI.21</c:v>
                </c:pt>
                <c:pt idx="325">
                  <c:v>17.XI.21</c:v>
                </c:pt>
                <c:pt idx="326">
                  <c:v>18.XI.21</c:v>
                </c:pt>
                <c:pt idx="327">
                  <c:v>19.XI.21</c:v>
                </c:pt>
                <c:pt idx="328">
                  <c:v>20.XI.21</c:v>
                </c:pt>
                <c:pt idx="329">
                  <c:v>21.XI.21</c:v>
                </c:pt>
                <c:pt idx="330">
                  <c:v>22.XI.21</c:v>
                </c:pt>
                <c:pt idx="331">
                  <c:v>23.XI.21</c:v>
                </c:pt>
                <c:pt idx="332">
                  <c:v>24.XI.21</c:v>
                </c:pt>
                <c:pt idx="333">
                  <c:v>25.XI.21</c:v>
                </c:pt>
                <c:pt idx="334">
                  <c:v>26.XI.21</c:v>
                </c:pt>
                <c:pt idx="335">
                  <c:v>27.XI.21</c:v>
                </c:pt>
                <c:pt idx="336">
                  <c:v>28.XI.21</c:v>
                </c:pt>
                <c:pt idx="337">
                  <c:v>29.XI.21</c:v>
                </c:pt>
                <c:pt idx="338">
                  <c:v>30.XI.21</c:v>
                </c:pt>
                <c:pt idx="339">
                  <c:v>1.XII.21</c:v>
                </c:pt>
                <c:pt idx="340">
                  <c:v>2.XII.21</c:v>
                </c:pt>
                <c:pt idx="341">
                  <c:v>3.XII.21</c:v>
                </c:pt>
                <c:pt idx="342">
                  <c:v>4.XII.21</c:v>
                </c:pt>
                <c:pt idx="343">
                  <c:v>5.XII.21</c:v>
                </c:pt>
                <c:pt idx="344">
                  <c:v>6.XII.21</c:v>
                </c:pt>
                <c:pt idx="345">
                  <c:v>7.XII.21</c:v>
                </c:pt>
                <c:pt idx="346">
                  <c:v>8.XII.21</c:v>
                </c:pt>
                <c:pt idx="347">
                  <c:v>9.XII.21</c:v>
                </c:pt>
                <c:pt idx="348">
                  <c:v>10.XII.21</c:v>
                </c:pt>
                <c:pt idx="349">
                  <c:v>11.XII.21</c:v>
                </c:pt>
                <c:pt idx="350">
                  <c:v>12.XII.21</c:v>
                </c:pt>
                <c:pt idx="351">
                  <c:v>13.XII.21</c:v>
                </c:pt>
                <c:pt idx="352">
                  <c:v>14.XII.21</c:v>
                </c:pt>
                <c:pt idx="353">
                  <c:v>15.XII.21</c:v>
                </c:pt>
                <c:pt idx="354">
                  <c:v>16.XII.21</c:v>
                </c:pt>
                <c:pt idx="355">
                  <c:v>17.XII.21</c:v>
                </c:pt>
                <c:pt idx="356">
                  <c:v>18.XII.21</c:v>
                </c:pt>
                <c:pt idx="357">
                  <c:v>19.XII.21</c:v>
                </c:pt>
                <c:pt idx="358">
                  <c:v>20.XII.21</c:v>
                </c:pt>
                <c:pt idx="359">
                  <c:v>21.XII.21</c:v>
                </c:pt>
                <c:pt idx="360">
                  <c:v>22.XII.21</c:v>
                </c:pt>
                <c:pt idx="361">
                  <c:v>23.XII.21</c:v>
                </c:pt>
                <c:pt idx="362">
                  <c:v>24.XII.21</c:v>
                </c:pt>
                <c:pt idx="363">
                  <c:v>27.XII.21</c:v>
                </c:pt>
                <c:pt idx="364">
                  <c:v>28.XII.21</c:v>
                </c:pt>
                <c:pt idx="365">
                  <c:v>29.XII.21</c:v>
                </c:pt>
                <c:pt idx="366">
                  <c:v>30.XII.21</c:v>
                </c:pt>
                <c:pt idx="367">
                  <c:v>31.XII.21</c:v>
                </c:pt>
                <c:pt idx="368">
                  <c:v>2.I.22</c:v>
                </c:pt>
                <c:pt idx="369">
                  <c:v>3.I.22</c:v>
                </c:pt>
                <c:pt idx="370">
                  <c:v>4.I.22</c:v>
                </c:pt>
                <c:pt idx="371">
                  <c:v>5.I.22</c:v>
                </c:pt>
                <c:pt idx="372">
                  <c:v>6.I.22</c:v>
                </c:pt>
                <c:pt idx="373">
                  <c:v>7.I.22</c:v>
                </c:pt>
                <c:pt idx="374">
                  <c:v>8.I.22</c:v>
                </c:pt>
                <c:pt idx="375">
                  <c:v>9.I.22</c:v>
                </c:pt>
                <c:pt idx="376">
                  <c:v>10.I.22</c:v>
                </c:pt>
                <c:pt idx="377">
                  <c:v>11.I.22</c:v>
                </c:pt>
                <c:pt idx="378">
                  <c:v>12.I.22</c:v>
                </c:pt>
                <c:pt idx="379">
                  <c:v>13.I.22</c:v>
                </c:pt>
                <c:pt idx="380">
                  <c:v>14.I.22</c:v>
                </c:pt>
                <c:pt idx="381">
                  <c:v>15.I.22</c:v>
                </c:pt>
                <c:pt idx="382">
                  <c:v>16.I.22</c:v>
                </c:pt>
                <c:pt idx="383">
                  <c:v>17.I.22</c:v>
                </c:pt>
                <c:pt idx="384">
                  <c:v>18.I.22</c:v>
                </c:pt>
                <c:pt idx="385">
                  <c:v>19.I.22</c:v>
                </c:pt>
                <c:pt idx="386">
                  <c:v>20.I.22</c:v>
                </c:pt>
                <c:pt idx="387">
                  <c:v>21.I.22</c:v>
                </c:pt>
                <c:pt idx="388">
                  <c:v>22.I.22</c:v>
                </c:pt>
                <c:pt idx="389">
                  <c:v>23.I.22</c:v>
                </c:pt>
                <c:pt idx="390">
                  <c:v>24.I.22</c:v>
                </c:pt>
                <c:pt idx="391">
                  <c:v>25.I.22</c:v>
                </c:pt>
                <c:pt idx="392">
                  <c:v>26.I.22</c:v>
                </c:pt>
                <c:pt idx="393">
                  <c:v>27.I.22</c:v>
                </c:pt>
                <c:pt idx="394">
                  <c:v>28.I.22</c:v>
                </c:pt>
                <c:pt idx="395">
                  <c:v>29.I.22</c:v>
                </c:pt>
                <c:pt idx="396">
                  <c:v>30.I.22</c:v>
                </c:pt>
                <c:pt idx="397">
                  <c:v>31.I.22</c:v>
                </c:pt>
                <c:pt idx="398">
                  <c:v>1.II.22</c:v>
                </c:pt>
                <c:pt idx="399">
                  <c:v>2.II.22</c:v>
                </c:pt>
                <c:pt idx="400">
                  <c:v>3.II.22</c:v>
                </c:pt>
                <c:pt idx="401">
                  <c:v>4.II.22</c:v>
                </c:pt>
                <c:pt idx="402">
                  <c:v>5.II.22</c:v>
                </c:pt>
                <c:pt idx="403">
                  <c:v>6.II.22</c:v>
                </c:pt>
                <c:pt idx="404">
                  <c:v>7.II.22</c:v>
                </c:pt>
                <c:pt idx="405">
                  <c:v>8.II.22</c:v>
                </c:pt>
                <c:pt idx="406">
                  <c:v>9.II.22</c:v>
                </c:pt>
                <c:pt idx="407">
                  <c:v>10.II.22</c:v>
                </c:pt>
                <c:pt idx="408">
                  <c:v>11.II.22</c:v>
                </c:pt>
                <c:pt idx="409">
                  <c:v>12.II.22</c:v>
                </c:pt>
                <c:pt idx="410">
                  <c:v>14.II.22</c:v>
                </c:pt>
                <c:pt idx="411">
                  <c:v>15.II.22</c:v>
                </c:pt>
                <c:pt idx="412">
                  <c:v>16.II.22</c:v>
                </c:pt>
                <c:pt idx="413">
                  <c:v>17.II.22</c:v>
                </c:pt>
                <c:pt idx="414">
                  <c:v>18.II.22</c:v>
                </c:pt>
                <c:pt idx="415">
                  <c:v>19.II.22</c:v>
                </c:pt>
                <c:pt idx="416">
                  <c:v>21.II.22</c:v>
                </c:pt>
                <c:pt idx="417">
                  <c:v>22.II.22</c:v>
                </c:pt>
                <c:pt idx="418">
                  <c:v>23.II.22</c:v>
                </c:pt>
                <c:pt idx="419">
                  <c:v>24.II.22</c:v>
                </c:pt>
                <c:pt idx="420">
                  <c:v>25.II.22</c:v>
                </c:pt>
                <c:pt idx="421">
                  <c:v>28.II.22</c:v>
                </c:pt>
                <c:pt idx="422">
                  <c:v>1.III.22</c:v>
                </c:pt>
                <c:pt idx="423">
                  <c:v>2.III.22</c:v>
                </c:pt>
                <c:pt idx="424">
                  <c:v>3.III.22</c:v>
                </c:pt>
                <c:pt idx="425">
                  <c:v>4.III.22</c:v>
                </c:pt>
                <c:pt idx="426">
                  <c:v>5.III.22</c:v>
                </c:pt>
                <c:pt idx="427">
                  <c:v>7.III.22</c:v>
                </c:pt>
                <c:pt idx="428">
                  <c:v>8.III.22</c:v>
                </c:pt>
                <c:pt idx="429">
                  <c:v>9.III.22</c:v>
                </c:pt>
                <c:pt idx="430">
                  <c:v>10.III.22</c:v>
                </c:pt>
                <c:pt idx="431">
                  <c:v>11.III.22</c:v>
                </c:pt>
                <c:pt idx="432">
                  <c:v>12.III.22</c:v>
                </c:pt>
                <c:pt idx="433">
                  <c:v>14.III.22</c:v>
                </c:pt>
                <c:pt idx="434">
                  <c:v>15.III.22</c:v>
                </c:pt>
                <c:pt idx="435">
                  <c:v>16.III.22</c:v>
                </c:pt>
                <c:pt idx="436">
                  <c:v>17.III.22</c:v>
                </c:pt>
                <c:pt idx="437">
                  <c:v>18.III.22</c:v>
                </c:pt>
                <c:pt idx="438">
                  <c:v>21.III.22</c:v>
                </c:pt>
                <c:pt idx="439">
                  <c:v>22.III.22</c:v>
                </c:pt>
                <c:pt idx="440">
                  <c:v>23.III.22</c:v>
                </c:pt>
                <c:pt idx="441">
                  <c:v>24.III.22</c:v>
                </c:pt>
                <c:pt idx="442">
                  <c:v>25.III.22</c:v>
                </c:pt>
                <c:pt idx="443">
                  <c:v>26.III.22</c:v>
                </c:pt>
                <c:pt idx="444">
                  <c:v>28.III.22</c:v>
                </c:pt>
                <c:pt idx="445">
                  <c:v>29.III.22</c:v>
                </c:pt>
                <c:pt idx="446">
                  <c:v>30.III.22</c:v>
                </c:pt>
                <c:pt idx="447">
                  <c:v>31.III.22</c:v>
                </c:pt>
                <c:pt idx="448">
                  <c:v>1.IV.22</c:v>
                </c:pt>
              </c:strCache>
            </c:strRef>
          </c:cat>
          <c:val>
            <c:numRef>
              <c:f>List1!$I$5:$QO$5</c:f>
              <c:numCache>
                <c:formatCode>General</c:formatCode>
                <c:ptCount val="449"/>
                <c:pt idx="0">
                  <c:v>448</c:v>
                </c:pt>
                <c:pt idx="1">
                  <c:v>1180</c:v>
                </c:pt>
                <c:pt idx="2">
                  <c:v>2129</c:v>
                </c:pt>
                <c:pt idx="3">
                  <c:v>3071</c:v>
                </c:pt>
                <c:pt idx="4">
                  <c:v>3408</c:v>
                </c:pt>
                <c:pt idx="5">
                  <c:v>3497</c:v>
                </c:pt>
                <c:pt idx="6">
                  <c:v>3887</c:v>
                </c:pt>
                <c:pt idx="7">
                  <c:v>4200</c:v>
                </c:pt>
                <c:pt idx="8">
                  <c:v>5394</c:v>
                </c:pt>
                <c:pt idx="9">
                  <c:v>6706</c:v>
                </c:pt>
                <c:pt idx="10">
                  <c:v>8204</c:v>
                </c:pt>
                <c:pt idx="11">
                  <c:v>9879</c:v>
                </c:pt>
                <c:pt idx="12">
                  <c:v>11685</c:v>
                </c:pt>
                <c:pt idx="13">
                  <c:v>12094</c:v>
                </c:pt>
                <c:pt idx="14">
                  <c:v>12387</c:v>
                </c:pt>
                <c:pt idx="15">
                  <c:v>14131</c:v>
                </c:pt>
                <c:pt idx="16">
                  <c:v>16076</c:v>
                </c:pt>
                <c:pt idx="17">
                  <c:v>17776</c:v>
                </c:pt>
                <c:pt idx="18">
                  <c:v>19679</c:v>
                </c:pt>
                <c:pt idx="19">
                  <c:v>21479</c:v>
                </c:pt>
                <c:pt idx="20">
                  <c:v>21814</c:v>
                </c:pt>
                <c:pt idx="21">
                  <c:v>22039</c:v>
                </c:pt>
                <c:pt idx="22">
                  <c:v>23594</c:v>
                </c:pt>
                <c:pt idx="23">
                  <c:v>24770</c:v>
                </c:pt>
                <c:pt idx="24">
                  <c:v>25897</c:v>
                </c:pt>
                <c:pt idx="25">
                  <c:v>26891</c:v>
                </c:pt>
                <c:pt idx="26">
                  <c:v>27721</c:v>
                </c:pt>
                <c:pt idx="27">
                  <c:v>27890</c:v>
                </c:pt>
                <c:pt idx="28">
                  <c:v>27972</c:v>
                </c:pt>
                <c:pt idx="29">
                  <c:v>28484</c:v>
                </c:pt>
                <c:pt idx="30">
                  <c:v>29022</c:v>
                </c:pt>
                <c:pt idx="31">
                  <c:v>29421</c:v>
                </c:pt>
                <c:pt idx="32">
                  <c:v>29797</c:v>
                </c:pt>
                <c:pt idx="33">
                  <c:v>30129</c:v>
                </c:pt>
                <c:pt idx="34">
                  <c:v>30154</c:v>
                </c:pt>
                <c:pt idx="35">
                  <c:v>30175</c:v>
                </c:pt>
                <c:pt idx="36">
                  <c:v>30418</c:v>
                </c:pt>
                <c:pt idx="37">
                  <c:v>30654</c:v>
                </c:pt>
                <c:pt idx="38">
                  <c:v>30877</c:v>
                </c:pt>
                <c:pt idx="39">
                  <c:v>31071</c:v>
                </c:pt>
                <c:pt idx="40">
                  <c:v>31346</c:v>
                </c:pt>
                <c:pt idx="41">
                  <c:v>31366</c:v>
                </c:pt>
                <c:pt idx="42">
                  <c:v>31378</c:v>
                </c:pt>
                <c:pt idx="43">
                  <c:v>31512</c:v>
                </c:pt>
                <c:pt idx="44">
                  <c:v>31650</c:v>
                </c:pt>
                <c:pt idx="45">
                  <c:v>31845</c:v>
                </c:pt>
                <c:pt idx="46">
                  <c:v>32076</c:v>
                </c:pt>
                <c:pt idx="47">
                  <c:v>32354</c:v>
                </c:pt>
                <c:pt idx="48">
                  <c:v>32453</c:v>
                </c:pt>
                <c:pt idx="49">
                  <c:v>32517</c:v>
                </c:pt>
                <c:pt idx="50">
                  <c:v>32873</c:v>
                </c:pt>
                <c:pt idx="51">
                  <c:v>33170</c:v>
                </c:pt>
                <c:pt idx="52">
                  <c:v>33432</c:v>
                </c:pt>
                <c:pt idx="53">
                  <c:v>33770</c:v>
                </c:pt>
                <c:pt idx="54">
                  <c:v>34216</c:v>
                </c:pt>
                <c:pt idx="55">
                  <c:v>34322</c:v>
                </c:pt>
                <c:pt idx="56">
                  <c:v>34369</c:v>
                </c:pt>
                <c:pt idx="57">
                  <c:v>34679</c:v>
                </c:pt>
                <c:pt idx="58">
                  <c:v>35158</c:v>
                </c:pt>
                <c:pt idx="59">
                  <c:v>35756</c:v>
                </c:pt>
                <c:pt idx="60">
                  <c:v>36409</c:v>
                </c:pt>
                <c:pt idx="61">
                  <c:v>36951</c:v>
                </c:pt>
                <c:pt idx="62">
                  <c:v>37025</c:v>
                </c:pt>
                <c:pt idx="63">
                  <c:v>37068</c:v>
                </c:pt>
                <c:pt idx="64">
                  <c:v>37614</c:v>
                </c:pt>
                <c:pt idx="65">
                  <c:v>38209</c:v>
                </c:pt>
                <c:pt idx="66">
                  <c:v>38770</c:v>
                </c:pt>
                <c:pt idx="67">
                  <c:v>39313</c:v>
                </c:pt>
                <c:pt idx="68">
                  <c:v>39904</c:v>
                </c:pt>
                <c:pt idx="69">
                  <c:v>40071</c:v>
                </c:pt>
                <c:pt idx="70">
                  <c:v>40180</c:v>
                </c:pt>
                <c:pt idx="71">
                  <c:v>40507</c:v>
                </c:pt>
                <c:pt idx="72">
                  <c:v>40904</c:v>
                </c:pt>
                <c:pt idx="73">
                  <c:v>41306</c:v>
                </c:pt>
                <c:pt idx="74">
                  <c:v>41783</c:v>
                </c:pt>
                <c:pt idx="75">
                  <c:v>42187</c:v>
                </c:pt>
                <c:pt idx="76">
                  <c:v>42325</c:v>
                </c:pt>
                <c:pt idx="77">
                  <c:v>42410</c:v>
                </c:pt>
                <c:pt idx="78">
                  <c:v>42662</c:v>
                </c:pt>
                <c:pt idx="79">
                  <c:v>43024</c:v>
                </c:pt>
                <c:pt idx="80">
                  <c:v>43379</c:v>
                </c:pt>
                <c:pt idx="81">
                  <c:v>43734</c:v>
                </c:pt>
                <c:pt idx="82">
                  <c:v>44063</c:v>
                </c:pt>
                <c:pt idx="83">
                  <c:v>44178</c:v>
                </c:pt>
                <c:pt idx="84">
                  <c:v>44248</c:v>
                </c:pt>
                <c:pt idx="85">
                  <c:v>44420</c:v>
                </c:pt>
                <c:pt idx="86">
                  <c:v>44613</c:v>
                </c:pt>
                <c:pt idx="87">
                  <c:v>44760</c:v>
                </c:pt>
                <c:pt idx="88">
                  <c:v>44953</c:v>
                </c:pt>
                <c:pt idx="89">
                  <c:v>45172</c:v>
                </c:pt>
                <c:pt idx="90">
                  <c:v>45235</c:v>
                </c:pt>
                <c:pt idx="91">
                  <c:v>45276</c:v>
                </c:pt>
                <c:pt idx="92">
                  <c:v>45401</c:v>
                </c:pt>
                <c:pt idx="93">
                  <c:v>45561</c:v>
                </c:pt>
                <c:pt idx="94">
                  <c:v>45720</c:v>
                </c:pt>
                <c:pt idx="95">
                  <c:v>45940</c:v>
                </c:pt>
                <c:pt idx="96">
                  <c:v>46017</c:v>
                </c:pt>
                <c:pt idx="97">
                  <c:v>46037</c:v>
                </c:pt>
                <c:pt idx="98">
                  <c:v>46065</c:v>
                </c:pt>
                <c:pt idx="99">
                  <c:v>46072</c:v>
                </c:pt>
                <c:pt idx="100">
                  <c:v>46162</c:v>
                </c:pt>
                <c:pt idx="101">
                  <c:v>46256</c:v>
                </c:pt>
                <c:pt idx="102">
                  <c:v>46424</c:v>
                </c:pt>
                <c:pt idx="103">
                  <c:v>46624</c:v>
                </c:pt>
                <c:pt idx="104">
                  <c:v>46669</c:v>
                </c:pt>
                <c:pt idx="105">
                  <c:v>46702</c:v>
                </c:pt>
                <c:pt idx="106">
                  <c:v>46838</c:v>
                </c:pt>
                <c:pt idx="107">
                  <c:v>46960</c:v>
                </c:pt>
                <c:pt idx="108">
                  <c:v>47065</c:v>
                </c:pt>
                <c:pt idx="109">
                  <c:v>47222</c:v>
                </c:pt>
                <c:pt idx="110">
                  <c:v>47397</c:v>
                </c:pt>
                <c:pt idx="111">
                  <c:v>47438</c:v>
                </c:pt>
                <c:pt idx="112">
                  <c:v>47493</c:v>
                </c:pt>
                <c:pt idx="113">
                  <c:v>47620</c:v>
                </c:pt>
                <c:pt idx="114">
                  <c:v>47740</c:v>
                </c:pt>
                <c:pt idx="115">
                  <c:v>47874</c:v>
                </c:pt>
                <c:pt idx="116">
                  <c:v>48020</c:v>
                </c:pt>
                <c:pt idx="117">
                  <c:v>48177</c:v>
                </c:pt>
                <c:pt idx="118">
                  <c:v>48233</c:v>
                </c:pt>
                <c:pt idx="119">
                  <c:v>48268</c:v>
                </c:pt>
                <c:pt idx="120">
                  <c:v>48380</c:v>
                </c:pt>
                <c:pt idx="121">
                  <c:v>48501</c:v>
                </c:pt>
                <c:pt idx="122">
                  <c:v>48619</c:v>
                </c:pt>
                <c:pt idx="123">
                  <c:v>48752</c:v>
                </c:pt>
                <c:pt idx="124">
                  <c:v>48891</c:v>
                </c:pt>
                <c:pt idx="125">
                  <c:v>48920</c:v>
                </c:pt>
                <c:pt idx="126">
                  <c:v>48949</c:v>
                </c:pt>
                <c:pt idx="127">
                  <c:v>49069</c:v>
                </c:pt>
                <c:pt idx="128">
                  <c:v>49194</c:v>
                </c:pt>
                <c:pt idx="129">
                  <c:v>49291</c:v>
                </c:pt>
                <c:pt idx="130">
                  <c:v>49408</c:v>
                </c:pt>
                <c:pt idx="131">
                  <c:v>49581</c:v>
                </c:pt>
                <c:pt idx="132">
                  <c:v>49643</c:v>
                </c:pt>
                <c:pt idx="133">
                  <c:v>49675</c:v>
                </c:pt>
                <c:pt idx="134">
                  <c:v>49774</c:v>
                </c:pt>
                <c:pt idx="135">
                  <c:v>49891</c:v>
                </c:pt>
                <c:pt idx="136">
                  <c:v>50021</c:v>
                </c:pt>
                <c:pt idx="137">
                  <c:v>50179</c:v>
                </c:pt>
                <c:pt idx="138">
                  <c:v>50305</c:v>
                </c:pt>
                <c:pt idx="139">
                  <c:v>50376</c:v>
                </c:pt>
                <c:pt idx="140">
                  <c:v>50408</c:v>
                </c:pt>
                <c:pt idx="141">
                  <c:v>50490</c:v>
                </c:pt>
                <c:pt idx="142">
                  <c:v>50582</c:v>
                </c:pt>
                <c:pt idx="143">
                  <c:v>50667</c:v>
                </c:pt>
                <c:pt idx="144">
                  <c:v>50767</c:v>
                </c:pt>
                <c:pt idx="145">
                  <c:v>50874</c:v>
                </c:pt>
                <c:pt idx="146">
                  <c:v>50904</c:v>
                </c:pt>
                <c:pt idx="147">
                  <c:v>50919</c:v>
                </c:pt>
                <c:pt idx="148">
                  <c:v>50968</c:v>
                </c:pt>
                <c:pt idx="149">
                  <c:v>51028</c:v>
                </c:pt>
                <c:pt idx="150">
                  <c:v>51120</c:v>
                </c:pt>
                <c:pt idx="151">
                  <c:v>51202</c:v>
                </c:pt>
                <c:pt idx="152">
                  <c:v>51306</c:v>
                </c:pt>
                <c:pt idx="153">
                  <c:v>51343</c:v>
                </c:pt>
                <c:pt idx="154">
                  <c:v>51376</c:v>
                </c:pt>
                <c:pt idx="155">
                  <c:v>51451</c:v>
                </c:pt>
                <c:pt idx="156">
                  <c:v>51531</c:v>
                </c:pt>
                <c:pt idx="157">
                  <c:v>51625</c:v>
                </c:pt>
                <c:pt idx="158">
                  <c:v>51696</c:v>
                </c:pt>
                <c:pt idx="159">
                  <c:v>51794</c:v>
                </c:pt>
                <c:pt idx="160">
                  <c:v>51821</c:v>
                </c:pt>
                <c:pt idx="161">
                  <c:v>51854</c:v>
                </c:pt>
                <c:pt idx="162">
                  <c:v>51933</c:v>
                </c:pt>
                <c:pt idx="163">
                  <c:v>52031</c:v>
                </c:pt>
                <c:pt idx="164">
                  <c:v>52118</c:v>
                </c:pt>
                <c:pt idx="165">
                  <c:v>52203</c:v>
                </c:pt>
                <c:pt idx="166">
                  <c:v>52297</c:v>
                </c:pt>
                <c:pt idx="167">
                  <c:v>52326</c:v>
                </c:pt>
                <c:pt idx="168">
                  <c:v>52356</c:v>
                </c:pt>
                <c:pt idx="169">
                  <c:v>52426</c:v>
                </c:pt>
                <c:pt idx="170">
                  <c:v>52480</c:v>
                </c:pt>
                <c:pt idx="171">
                  <c:v>52555</c:v>
                </c:pt>
                <c:pt idx="172">
                  <c:v>52633</c:v>
                </c:pt>
                <c:pt idx="173">
                  <c:v>52711</c:v>
                </c:pt>
                <c:pt idx="174">
                  <c:v>52739</c:v>
                </c:pt>
                <c:pt idx="175">
                  <c:v>52764</c:v>
                </c:pt>
                <c:pt idx="176">
                  <c:v>52803</c:v>
                </c:pt>
                <c:pt idx="177">
                  <c:v>52853</c:v>
                </c:pt>
                <c:pt idx="178">
                  <c:v>52908</c:v>
                </c:pt>
                <c:pt idx="179">
                  <c:v>52960</c:v>
                </c:pt>
                <c:pt idx="180">
                  <c:v>53017</c:v>
                </c:pt>
                <c:pt idx="181">
                  <c:v>53031</c:v>
                </c:pt>
                <c:pt idx="182">
                  <c:v>53043</c:v>
                </c:pt>
                <c:pt idx="183">
                  <c:v>53087</c:v>
                </c:pt>
                <c:pt idx="184">
                  <c:v>53132</c:v>
                </c:pt>
                <c:pt idx="185">
                  <c:v>53191</c:v>
                </c:pt>
                <c:pt idx="186">
                  <c:v>53235</c:v>
                </c:pt>
                <c:pt idx="187">
                  <c:v>53291</c:v>
                </c:pt>
                <c:pt idx="188">
                  <c:v>53303</c:v>
                </c:pt>
                <c:pt idx="189">
                  <c:v>53315</c:v>
                </c:pt>
                <c:pt idx="190">
                  <c:v>53321</c:v>
                </c:pt>
                <c:pt idx="191">
                  <c:v>53330</c:v>
                </c:pt>
                <c:pt idx="192">
                  <c:v>53370</c:v>
                </c:pt>
                <c:pt idx="193">
                  <c:v>53425</c:v>
                </c:pt>
                <c:pt idx="194">
                  <c:v>53473</c:v>
                </c:pt>
                <c:pt idx="195">
                  <c:v>53488</c:v>
                </c:pt>
                <c:pt idx="196">
                  <c:v>53502</c:v>
                </c:pt>
                <c:pt idx="197">
                  <c:v>53550</c:v>
                </c:pt>
                <c:pt idx="198">
                  <c:v>53593</c:v>
                </c:pt>
                <c:pt idx="199">
                  <c:v>53639</c:v>
                </c:pt>
                <c:pt idx="200">
                  <c:v>53699</c:v>
                </c:pt>
                <c:pt idx="201">
                  <c:v>53754</c:v>
                </c:pt>
                <c:pt idx="202">
                  <c:v>53776</c:v>
                </c:pt>
                <c:pt idx="203">
                  <c:v>53795</c:v>
                </c:pt>
                <c:pt idx="204">
                  <c:v>53844</c:v>
                </c:pt>
                <c:pt idx="205">
                  <c:v>53890</c:v>
                </c:pt>
                <c:pt idx="206">
                  <c:v>53959</c:v>
                </c:pt>
                <c:pt idx="207">
                  <c:v>53997</c:v>
                </c:pt>
                <c:pt idx="208">
                  <c:v>54030</c:v>
                </c:pt>
                <c:pt idx="209">
                  <c:v>54036</c:v>
                </c:pt>
                <c:pt idx="210">
                  <c:v>54045</c:v>
                </c:pt>
                <c:pt idx="211">
                  <c:v>54086</c:v>
                </c:pt>
                <c:pt idx="212">
                  <c:v>54137</c:v>
                </c:pt>
                <c:pt idx="213">
                  <c:v>54171</c:v>
                </c:pt>
                <c:pt idx="214">
                  <c:v>54199</c:v>
                </c:pt>
                <c:pt idx="215">
                  <c:v>54243</c:v>
                </c:pt>
                <c:pt idx="216">
                  <c:v>54260</c:v>
                </c:pt>
                <c:pt idx="217">
                  <c:v>54273</c:v>
                </c:pt>
                <c:pt idx="218">
                  <c:v>54310</c:v>
                </c:pt>
                <c:pt idx="219">
                  <c:v>54336</c:v>
                </c:pt>
                <c:pt idx="220">
                  <c:v>54376</c:v>
                </c:pt>
                <c:pt idx="221">
                  <c:v>54406</c:v>
                </c:pt>
                <c:pt idx="222">
                  <c:v>54439</c:v>
                </c:pt>
                <c:pt idx="223">
                  <c:v>54452</c:v>
                </c:pt>
                <c:pt idx="224">
                  <c:v>54457</c:v>
                </c:pt>
                <c:pt idx="225">
                  <c:v>54479</c:v>
                </c:pt>
                <c:pt idx="226">
                  <c:v>54494</c:v>
                </c:pt>
                <c:pt idx="227">
                  <c:v>54513</c:v>
                </c:pt>
                <c:pt idx="228">
                  <c:v>54536</c:v>
                </c:pt>
                <c:pt idx="229">
                  <c:v>54561</c:v>
                </c:pt>
                <c:pt idx="230">
                  <c:v>54571</c:v>
                </c:pt>
                <c:pt idx="231">
                  <c:v>54576</c:v>
                </c:pt>
                <c:pt idx="232">
                  <c:v>54593</c:v>
                </c:pt>
                <c:pt idx="233">
                  <c:v>54617</c:v>
                </c:pt>
                <c:pt idx="234">
                  <c:v>54640</c:v>
                </c:pt>
                <c:pt idx="235">
                  <c:v>54662</c:v>
                </c:pt>
                <c:pt idx="236">
                  <c:v>54695</c:v>
                </c:pt>
                <c:pt idx="237">
                  <c:v>54705</c:v>
                </c:pt>
                <c:pt idx="238">
                  <c:v>54708</c:v>
                </c:pt>
                <c:pt idx="239">
                  <c:v>54720</c:v>
                </c:pt>
                <c:pt idx="240">
                  <c:v>54748</c:v>
                </c:pt>
                <c:pt idx="241">
                  <c:v>54772</c:v>
                </c:pt>
                <c:pt idx="242">
                  <c:v>54799</c:v>
                </c:pt>
                <c:pt idx="243">
                  <c:v>54827</c:v>
                </c:pt>
                <c:pt idx="244">
                  <c:v>54829</c:v>
                </c:pt>
                <c:pt idx="245">
                  <c:v>54836</c:v>
                </c:pt>
                <c:pt idx="246">
                  <c:v>54858</c:v>
                </c:pt>
                <c:pt idx="247">
                  <c:v>54883</c:v>
                </c:pt>
                <c:pt idx="248">
                  <c:v>54903</c:v>
                </c:pt>
                <c:pt idx="249">
                  <c:v>54931</c:v>
                </c:pt>
                <c:pt idx="250">
                  <c:v>54957</c:v>
                </c:pt>
                <c:pt idx="251">
                  <c:v>54965</c:v>
                </c:pt>
                <c:pt idx="252">
                  <c:v>54970</c:v>
                </c:pt>
                <c:pt idx="253">
                  <c:v>54983</c:v>
                </c:pt>
                <c:pt idx="254">
                  <c:v>54996</c:v>
                </c:pt>
                <c:pt idx="255">
                  <c:v>55016</c:v>
                </c:pt>
                <c:pt idx="256">
                  <c:v>55044</c:v>
                </c:pt>
                <c:pt idx="257">
                  <c:v>55069</c:v>
                </c:pt>
                <c:pt idx="258">
                  <c:v>55071</c:v>
                </c:pt>
                <c:pt idx="259">
                  <c:v>55074</c:v>
                </c:pt>
                <c:pt idx="260">
                  <c:v>55093</c:v>
                </c:pt>
                <c:pt idx="261">
                  <c:v>55111</c:v>
                </c:pt>
                <c:pt idx="262">
                  <c:v>55126</c:v>
                </c:pt>
                <c:pt idx="263">
                  <c:v>55144</c:v>
                </c:pt>
                <c:pt idx="264">
                  <c:v>55169</c:v>
                </c:pt>
                <c:pt idx="265">
                  <c:v>55174</c:v>
                </c:pt>
                <c:pt idx="266">
                  <c:v>55174</c:v>
                </c:pt>
                <c:pt idx="267">
                  <c:v>55194</c:v>
                </c:pt>
                <c:pt idx="268">
                  <c:v>55202</c:v>
                </c:pt>
                <c:pt idx="269">
                  <c:v>55213</c:v>
                </c:pt>
                <c:pt idx="270">
                  <c:v>55236</c:v>
                </c:pt>
                <c:pt idx="271">
                  <c:v>55261</c:v>
                </c:pt>
                <c:pt idx="272">
                  <c:v>55267</c:v>
                </c:pt>
                <c:pt idx="273">
                  <c:v>55267</c:v>
                </c:pt>
                <c:pt idx="274">
                  <c:v>55279</c:v>
                </c:pt>
                <c:pt idx="275">
                  <c:v>55279</c:v>
                </c:pt>
                <c:pt idx="276">
                  <c:v>55296</c:v>
                </c:pt>
                <c:pt idx="277">
                  <c:v>55311</c:v>
                </c:pt>
                <c:pt idx="278">
                  <c:v>55331</c:v>
                </c:pt>
                <c:pt idx="279">
                  <c:v>55337</c:v>
                </c:pt>
                <c:pt idx="280">
                  <c:v>55337</c:v>
                </c:pt>
                <c:pt idx="281">
                  <c:v>55346</c:v>
                </c:pt>
                <c:pt idx="282">
                  <c:v>55353</c:v>
                </c:pt>
                <c:pt idx="283">
                  <c:v>55365</c:v>
                </c:pt>
                <c:pt idx="284">
                  <c:v>55383</c:v>
                </c:pt>
                <c:pt idx="285">
                  <c:v>55397</c:v>
                </c:pt>
                <c:pt idx="286">
                  <c:v>55403</c:v>
                </c:pt>
                <c:pt idx="287">
                  <c:v>55403</c:v>
                </c:pt>
                <c:pt idx="288">
                  <c:v>55422</c:v>
                </c:pt>
                <c:pt idx="289">
                  <c:v>55440</c:v>
                </c:pt>
                <c:pt idx="290">
                  <c:v>55447</c:v>
                </c:pt>
                <c:pt idx="291">
                  <c:v>55457</c:v>
                </c:pt>
                <c:pt idx="292">
                  <c:v>55474</c:v>
                </c:pt>
                <c:pt idx="293">
                  <c:v>55476</c:v>
                </c:pt>
                <c:pt idx="294">
                  <c:v>55478</c:v>
                </c:pt>
                <c:pt idx="295">
                  <c:v>55499</c:v>
                </c:pt>
                <c:pt idx="296">
                  <c:v>55506</c:v>
                </c:pt>
                <c:pt idx="297">
                  <c:v>55520</c:v>
                </c:pt>
                <c:pt idx="298">
                  <c:v>55545</c:v>
                </c:pt>
                <c:pt idx="299">
                  <c:v>55584</c:v>
                </c:pt>
                <c:pt idx="300">
                  <c:v>55591</c:v>
                </c:pt>
                <c:pt idx="301">
                  <c:v>55597</c:v>
                </c:pt>
                <c:pt idx="302">
                  <c:v>55618</c:v>
                </c:pt>
                <c:pt idx="303">
                  <c:v>55655</c:v>
                </c:pt>
                <c:pt idx="304">
                  <c:v>55702</c:v>
                </c:pt>
                <c:pt idx="305">
                  <c:v>55709</c:v>
                </c:pt>
                <c:pt idx="306">
                  <c:v>55743</c:v>
                </c:pt>
                <c:pt idx="307">
                  <c:v>55755</c:v>
                </c:pt>
                <c:pt idx="308">
                  <c:v>55758</c:v>
                </c:pt>
                <c:pt idx="309">
                  <c:v>55802</c:v>
                </c:pt>
                <c:pt idx="310">
                  <c:v>55842</c:v>
                </c:pt>
                <c:pt idx="311">
                  <c:v>55877</c:v>
                </c:pt>
                <c:pt idx="312">
                  <c:v>55934</c:v>
                </c:pt>
                <c:pt idx="313">
                  <c:v>55997</c:v>
                </c:pt>
                <c:pt idx="314">
                  <c:v>56021</c:v>
                </c:pt>
                <c:pt idx="315">
                  <c:v>56034</c:v>
                </c:pt>
                <c:pt idx="316">
                  <c:v>56064</c:v>
                </c:pt>
                <c:pt idx="317">
                  <c:v>56099</c:v>
                </c:pt>
                <c:pt idx="318">
                  <c:v>56132</c:v>
                </c:pt>
                <c:pt idx="319">
                  <c:v>56166</c:v>
                </c:pt>
                <c:pt idx="320">
                  <c:v>56230</c:v>
                </c:pt>
                <c:pt idx="321">
                  <c:v>56241</c:v>
                </c:pt>
                <c:pt idx="322">
                  <c:v>56250</c:v>
                </c:pt>
                <c:pt idx="323">
                  <c:v>56297</c:v>
                </c:pt>
                <c:pt idx="324">
                  <c:v>56352</c:v>
                </c:pt>
                <c:pt idx="325">
                  <c:v>56367</c:v>
                </c:pt>
                <c:pt idx="326">
                  <c:v>56412</c:v>
                </c:pt>
                <c:pt idx="327">
                  <c:v>56479</c:v>
                </c:pt>
                <c:pt idx="328">
                  <c:v>56505</c:v>
                </c:pt>
                <c:pt idx="329">
                  <c:v>56516</c:v>
                </c:pt>
                <c:pt idx="330">
                  <c:v>56564</c:v>
                </c:pt>
                <c:pt idx="331">
                  <c:v>56613</c:v>
                </c:pt>
                <c:pt idx="332">
                  <c:v>56648</c:v>
                </c:pt>
                <c:pt idx="333">
                  <c:v>56699</c:v>
                </c:pt>
                <c:pt idx="334">
                  <c:v>56760</c:v>
                </c:pt>
                <c:pt idx="335">
                  <c:v>56770</c:v>
                </c:pt>
                <c:pt idx="336">
                  <c:v>56775</c:v>
                </c:pt>
                <c:pt idx="337">
                  <c:v>56805</c:v>
                </c:pt>
                <c:pt idx="338">
                  <c:v>56833</c:v>
                </c:pt>
                <c:pt idx="339">
                  <c:v>56866</c:v>
                </c:pt>
                <c:pt idx="340">
                  <c:v>56892</c:v>
                </c:pt>
                <c:pt idx="341">
                  <c:v>56923</c:v>
                </c:pt>
                <c:pt idx="342">
                  <c:v>56927</c:v>
                </c:pt>
                <c:pt idx="343">
                  <c:v>56929</c:v>
                </c:pt>
                <c:pt idx="344">
                  <c:v>56948</c:v>
                </c:pt>
                <c:pt idx="345">
                  <c:v>56966</c:v>
                </c:pt>
                <c:pt idx="346">
                  <c:v>56990</c:v>
                </c:pt>
                <c:pt idx="347">
                  <c:v>57009</c:v>
                </c:pt>
                <c:pt idx="348">
                  <c:v>57028</c:v>
                </c:pt>
                <c:pt idx="349">
                  <c:v>57032</c:v>
                </c:pt>
                <c:pt idx="350">
                  <c:v>57034</c:v>
                </c:pt>
                <c:pt idx="351">
                  <c:v>57047</c:v>
                </c:pt>
                <c:pt idx="352">
                  <c:v>57058</c:v>
                </c:pt>
                <c:pt idx="353">
                  <c:v>57070</c:v>
                </c:pt>
                <c:pt idx="354">
                  <c:v>57087</c:v>
                </c:pt>
                <c:pt idx="355">
                  <c:v>57104</c:v>
                </c:pt>
                <c:pt idx="356">
                  <c:v>57108</c:v>
                </c:pt>
                <c:pt idx="357">
                  <c:v>57110</c:v>
                </c:pt>
                <c:pt idx="358">
                  <c:v>57119</c:v>
                </c:pt>
                <c:pt idx="359">
                  <c:v>57126</c:v>
                </c:pt>
                <c:pt idx="360">
                  <c:v>57139</c:v>
                </c:pt>
                <c:pt idx="361">
                  <c:v>57141</c:v>
                </c:pt>
                <c:pt idx="362">
                  <c:v>57142</c:v>
                </c:pt>
                <c:pt idx="363">
                  <c:v>57149</c:v>
                </c:pt>
                <c:pt idx="364">
                  <c:v>57154</c:v>
                </c:pt>
                <c:pt idx="365">
                  <c:v>57157</c:v>
                </c:pt>
                <c:pt idx="366">
                  <c:v>57163</c:v>
                </c:pt>
                <c:pt idx="367">
                  <c:v>57165</c:v>
                </c:pt>
                <c:pt idx="368">
                  <c:v>57166</c:v>
                </c:pt>
                <c:pt idx="369">
                  <c:v>57171</c:v>
                </c:pt>
                <c:pt idx="370">
                  <c:v>57177</c:v>
                </c:pt>
                <c:pt idx="371">
                  <c:v>57187</c:v>
                </c:pt>
                <c:pt idx="372">
                  <c:v>57196</c:v>
                </c:pt>
                <c:pt idx="373">
                  <c:v>57211</c:v>
                </c:pt>
                <c:pt idx="374">
                  <c:v>57214</c:v>
                </c:pt>
                <c:pt idx="375">
                  <c:v>57215</c:v>
                </c:pt>
                <c:pt idx="376">
                  <c:v>57223</c:v>
                </c:pt>
                <c:pt idx="377">
                  <c:v>57229</c:v>
                </c:pt>
                <c:pt idx="378">
                  <c:v>57241</c:v>
                </c:pt>
                <c:pt idx="379">
                  <c:v>57252</c:v>
                </c:pt>
                <c:pt idx="380">
                  <c:v>57264</c:v>
                </c:pt>
                <c:pt idx="381">
                  <c:v>57267</c:v>
                </c:pt>
                <c:pt idx="382">
                  <c:v>57267</c:v>
                </c:pt>
                <c:pt idx="383">
                  <c:v>57276</c:v>
                </c:pt>
                <c:pt idx="384">
                  <c:v>57284</c:v>
                </c:pt>
                <c:pt idx="385">
                  <c:v>57287</c:v>
                </c:pt>
                <c:pt idx="386">
                  <c:v>57295</c:v>
                </c:pt>
                <c:pt idx="387">
                  <c:v>57304</c:v>
                </c:pt>
                <c:pt idx="388">
                  <c:v>57305</c:v>
                </c:pt>
                <c:pt idx="389">
                  <c:v>57305</c:v>
                </c:pt>
                <c:pt idx="390">
                  <c:v>57309</c:v>
                </c:pt>
                <c:pt idx="391">
                  <c:v>57313</c:v>
                </c:pt>
                <c:pt idx="392">
                  <c:v>57319</c:v>
                </c:pt>
                <c:pt idx="393">
                  <c:v>57321</c:v>
                </c:pt>
                <c:pt idx="394">
                  <c:v>57329</c:v>
                </c:pt>
                <c:pt idx="395">
                  <c:v>57330</c:v>
                </c:pt>
                <c:pt idx="396">
                  <c:v>57330</c:v>
                </c:pt>
                <c:pt idx="397">
                  <c:v>57335</c:v>
                </c:pt>
                <c:pt idx="398">
                  <c:v>57337</c:v>
                </c:pt>
                <c:pt idx="399">
                  <c:v>57340</c:v>
                </c:pt>
                <c:pt idx="400">
                  <c:v>57343</c:v>
                </c:pt>
                <c:pt idx="401">
                  <c:v>57347</c:v>
                </c:pt>
                <c:pt idx="402">
                  <c:v>57347</c:v>
                </c:pt>
                <c:pt idx="403">
                  <c:v>57347</c:v>
                </c:pt>
                <c:pt idx="404">
                  <c:v>57348</c:v>
                </c:pt>
                <c:pt idx="405">
                  <c:v>57350</c:v>
                </c:pt>
                <c:pt idx="406">
                  <c:v>57352</c:v>
                </c:pt>
                <c:pt idx="407">
                  <c:v>57354</c:v>
                </c:pt>
                <c:pt idx="408">
                  <c:v>57358</c:v>
                </c:pt>
                <c:pt idx="409">
                  <c:v>57358</c:v>
                </c:pt>
                <c:pt idx="410">
                  <c:v>57358</c:v>
                </c:pt>
                <c:pt idx="411">
                  <c:v>57358</c:v>
                </c:pt>
                <c:pt idx="412">
                  <c:v>57359</c:v>
                </c:pt>
                <c:pt idx="413">
                  <c:v>57360</c:v>
                </c:pt>
                <c:pt idx="414">
                  <c:v>57361</c:v>
                </c:pt>
                <c:pt idx="415">
                  <c:v>57361</c:v>
                </c:pt>
                <c:pt idx="416">
                  <c:v>57361</c:v>
                </c:pt>
                <c:pt idx="417">
                  <c:v>57361</c:v>
                </c:pt>
                <c:pt idx="418">
                  <c:v>57362</c:v>
                </c:pt>
                <c:pt idx="419">
                  <c:v>57362</c:v>
                </c:pt>
                <c:pt idx="420">
                  <c:v>57364</c:v>
                </c:pt>
                <c:pt idx="421">
                  <c:v>57365</c:v>
                </c:pt>
                <c:pt idx="422">
                  <c:v>57365</c:v>
                </c:pt>
                <c:pt idx="423">
                  <c:v>57365</c:v>
                </c:pt>
                <c:pt idx="424">
                  <c:v>57367</c:v>
                </c:pt>
                <c:pt idx="425">
                  <c:v>57369</c:v>
                </c:pt>
                <c:pt idx="426">
                  <c:v>57370</c:v>
                </c:pt>
                <c:pt idx="427">
                  <c:v>57370</c:v>
                </c:pt>
                <c:pt idx="428">
                  <c:v>57373</c:v>
                </c:pt>
                <c:pt idx="429">
                  <c:v>57374</c:v>
                </c:pt>
                <c:pt idx="430">
                  <c:v>57374</c:v>
                </c:pt>
                <c:pt idx="431">
                  <c:v>57376</c:v>
                </c:pt>
                <c:pt idx="432">
                  <c:v>57376</c:v>
                </c:pt>
                <c:pt idx="433">
                  <c:v>57379</c:v>
                </c:pt>
                <c:pt idx="434">
                  <c:v>57379</c:v>
                </c:pt>
                <c:pt idx="435">
                  <c:v>57380</c:v>
                </c:pt>
                <c:pt idx="436">
                  <c:v>57382</c:v>
                </c:pt>
                <c:pt idx="437">
                  <c:v>57384</c:v>
                </c:pt>
                <c:pt idx="438">
                  <c:v>57384</c:v>
                </c:pt>
                <c:pt idx="439">
                  <c:v>57385</c:v>
                </c:pt>
                <c:pt idx="440">
                  <c:v>57385</c:v>
                </c:pt>
                <c:pt idx="441">
                  <c:v>57386</c:v>
                </c:pt>
                <c:pt idx="442">
                  <c:v>57388</c:v>
                </c:pt>
                <c:pt idx="443">
                  <c:v>57389</c:v>
                </c:pt>
                <c:pt idx="444">
                  <c:v>57389</c:v>
                </c:pt>
                <c:pt idx="445">
                  <c:v>57390</c:v>
                </c:pt>
                <c:pt idx="446">
                  <c:v>57391</c:v>
                </c:pt>
                <c:pt idx="447">
                  <c:v>57392</c:v>
                </c:pt>
                <c:pt idx="448">
                  <c:v>57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96C-4D96-92B7-4727DCDD6F6E}"/>
                </c:ext>
              </c:extLst>
            </c:dLbl>
            <c:dLbl>
              <c:idx val="1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6C-4D96-92B7-4727DCDD6F6E}"/>
                </c:ext>
              </c:extLst>
            </c:dLbl>
            <c:dLbl>
              <c:idx val="1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96C-4D96-92B7-4727DCDD6F6E}"/>
                </c:ext>
              </c:extLst>
            </c:dLbl>
            <c:dLbl>
              <c:idx val="1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96C-4D96-92B7-4727DCDD6F6E}"/>
                </c:ext>
              </c:extLst>
            </c:dLbl>
            <c:dLbl>
              <c:idx val="1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96C-4D96-92B7-4727DCDD6F6E}"/>
                </c:ext>
              </c:extLst>
            </c:dLbl>
            <c:dLbl>
              <c:idx val="1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96C-4D96-92B7-4727DCDD6F6E}"/>
                </c:ext>
              </c:extLst>
            </c:dLbl>
            <c:dLbl>
              <c:idx val="1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96C-4D96-92B7-4727DCDD6F6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46:$A$419</c:f>
              <c:numCache>
                <c:formatCode>m/d/yyyy</c:formatCode>
                <c:ptCount val="274"/>
                <c:pt idx="0">
                  <c:v>44378</c:v>
                </c:pt>
                <c:pt idx="1">
                  <c:v>44379</c:v>
                </c:pt>
                <c:pt idx="2">
                  <c:v>44381</c:v>
                </c:pt>
                <c:pt idx="3">
                  <c:v>44382</c:v>
                </c:pt>
                <c:pt idx="4">
                  <c:v>44383</c:v>
                </c:pt>
                <c:pt idx="5">
                  <c:v>44384</c:v>
                </c:pt>
                <c:pt idx="6">
                  <c:v>44385</c:v>
                </c:pt>
                <c:pt idx="7">
                  <c:v>44386</c:v>
                </c:pt>
                <c:pt idx="8">
                  <c:v>44387</c:v>
                </c:pt>
                <c:pt idx="9">
                  <c:v>44388</c:v>
                </c:pt>
                <c:pt idx="10">
                  <c:v>44389</c:v>
                </c:pt>
                <c:pt idx="11">
                  <c:v>44390</c:v>
                </c:pt>
                <c:pt idx="12">
                  <c:v>44391</c:v>
                </c:pt>
                <c:pt idx="13">
                  <c:v>44392</c:v>
                </c:pt>
                <c:pt idx="14">
                  <c:v>44393</c:v>
                </c:pt>
                <c:pt idx="15">
                  <c:v>44394</c:v>
                </c:pt>
                <c:pt idx="16">
                  <c:v>44395</c:v>
                </c:pt>
                <c:pt idx="17">
                  <c:v>44396</c:v>
                </c:pt>
                <c:pt idx="18">
                  <c:v>44397</c:v>
                </c:pt>
                <c:pt idx="19">
                  <c:v>44398</c:v>
                </c:pt>
                <c:pt idx="20">
                  <c:v>44399</c:v>
                </c:pt>
                <c:pt idx="21">
                  <c:v>44400</c:v>
                </c:pt>
                <c:pt idx="22">
                  <c:v>44401</c:v>
                </c:pt>
                <c:pt idx="23">
                  <c:v>44402</c:v>
                </c:pt>
                <c:pt idx="24">
                  <c:v>44403</c:v>
                </c:pt>
                <c:pt idx="25">
                  <c:v>44404</c:v>
                </c:pt>
                <c:pt idx="26">
                  <c:v>44405</c:v>
                </c:pt>
                <c:pt idx="27">
                  <c:v>44406</c:v>
                </c:pt>
                <c:pt idx="28">
                  <c:v>44407</c:v>
                </c:pt>
                <c:pt idx="29">
                  <c:v>44408</c:v>
                </c:pt>
                <c:pt idx="30">
                  <c:v>44409</c:v>
                </c:pt>
                <c:pt idx="31">
                  <c:v>44410</c:v>
                </c:pt>
                <c:pt idx="32">
                  <c:v>44411</c:v>
                </c:pt>
                <c:pt idx="33">
                  <c:v>44412</c:v>
                </c:pt>
                <c:pt idx="34">
                  <c:v>44413</c:v>
                </c:pt>
                <c:pt idx="35">
                  <c:v>44414</c:v>
                </c:pt>
                <c:pt idx="36">
                  <c:v>44415</c:v>
                </c:pt>
                <c:pt idx="37">
                  <c:v>44416</c:v>
                </c:pt>
                <c:pt idx="38">
                  <c:v>44417</c:v>
                </c:pt>
                <c:pt idx="39">
                  <c:v>44418</c:v>
                </c:pt>
                <c:pt idx="40">
                  <c:v>44419</c:v>
                </c:pt>
                <c:pt idx="41">
                  <c:v>44420</c:v>
                </c:pt>
                <c:pt idx="42">
                  <c:v>44421</c:v>
                </c:pt>
                <c:pt idx="43">
                  <c:v>44422</c:v>
                </c:pt>
                <c:pt idx="44">
                  <c:v>44423</c:v>
                </c:pt>
                <c:pt idx="45">
                  <c:v>44424</c:v>
                </c:pt>
                <c:pt idx="46">
                  <c:v>44425</c:v>
                </c:pt>
                <c:pt idx="47">
                  <c:v>44426</c:v>
                </c:pt>
                <c:pt idx="48">
                  <c:v>44427</c:v>
                </c:pt>
                <c:pt idx="49">
                  <c:v>44428</c:v>
                </c:pt>
                <c:pt idx="50">
                  <c:v>44429</c:v>
                </c:pt>
                <c:pt idx="51">
                  <c:v>44430</c:v>
                </c:pt>
                <c:pt idx="52">
                  <c:v>44431</c:v>
                </c:pt>
                <c:pt idx="53">
                  <c:v>44432</c:v>
                </c:pt>
                <c:pt idx="54">
                  <c:v>44433</c:v>
                </c:pt>
                <c:pt idx="55">
                  <c:v>44434</c:v>
                </c:pt>
                <c:pt idx="56">
                  <c:v>44435</c:v>
                </c:pt>
                <c:pt idx="57">
                  <c:v>44436</c:v>
                </c:pt>
                <c:pt idx="58">
                  <c:v>44437</c:v>
                </c:pt>
                <c:pt idx="59">
                  <c:v>44438</c:v>
                </c:pt>
                <c:pt idx="60">
                  <c:v>44439</c:v>
                </c:pt>
                <c:pt idx="61">
                  <c:v>44440</c:v>
                </c:pt>
                <c:pt idx="62">
                  <c:v>44441</c:v>
                </c:pt>
                <c:pt idx="63">
                  <c:v>44442</c:v>
                </c:pt>
                <c:pt idx="64">
                  <c:v>44443</c:v>
                </c:pt>
                <c:pt idx="65">
                  <c:v>44444</c:v>
                </c:pt>
                <c:pt idx="66">
                  <c:v>44445</c:v>
                </c:pt>
                <c:pt idx="67">
                  <c:v>44446</c:v>
                </c:pt>
                <c:pt idx="68">
                  <c:v>44447</c:v>
                </c:pt>
                <c:pt idx="69">
                  <c:v>44448</c:v>
                </c:pt>
                <c:pt idx="70">
                  <c:v>44449</c:v>
                </c:pt>
                <c:pt idx="71">
                  <c:v>44450</c:v>
                </c:pt>
                <c:pt idx="72">
                  <c:v>44451</c:v>
                </c:pt>
                <c:pt idx="73">
                  <c:v>44452</c:v>
                </c:pt>
                <c:pt idx="74">
                  <c:v>44453</c:v>
                </c:pt>
                <c:pt idx="75">
                  <c:v>44454</c:v>
                </c:pt>
                <c:pt idx="76">
                  <c:v>44455</c:v>
                </c:pt>
                <c:pt idx="77">
                  <c:v>44456</c:v>
                </c:pt>
                <c:pt idx="78">
                  <c:v>44457</c:v>
                </c:pt>
                <c:pt idx="79">
                  <c:v>44458</c:v>
                </c:pt>
                <c:pt idx="80">
                  <c:v>44459</c:v>
                </c:pt>
                <c:pt idx="81">
                  <c:v>44460</c:v>
                </c:pt>
                <c:pt idx="82">
                  <c:v>44461</c:v>
                </c:pt>
                <c:pt idx="83">
                  <c:v>44462</c:v>
                </c:pt>
                <c:pt idx="84">
                  <c:v>44463</c:v>
                </c:pt>
                <c:pt idx="85">
                  <c:v>44464</c:v>
                </c:pt>
                <c:pt idx="86">
                  <c:v>44465</c:v>
                </c:pt>
                <c:pt idx="87">
                  <c:v>44466</c:v>
                </c:pt>
                <c:pt idx="88">
                  <c:v>44467</c:v>
                </c:pt>
                <c:pt idx="89">
                  <c:v>44468</c:v>
                </c:pt>
                <c:pt idx="90">
                  <c:v>44469</c:v>
                </c:pt>
                <c:pt idx="91">
                  <c:v>44470</c:v>
                </c:pt>
                <c:pt idx="92">
                  <c:v>44471</c:v>
                </c:pt>
                <c:pt idx="93">
                  <c:v>44472</c:v>
                </c:pt>
                <c:pt idx="94">
                  <c:v>44473</c:v>
                </c:pt>
                <c:pt idx="95">
                  <c:v>44474</c:v>
                </c:pt>
                <c:pt idx="96">
                  <c:v>44475</c:v>
                </c:pt>
                <c:pt idx="97">
                  <c:v>44476</c:v>
                </c:pt>
                <c:pt idx="98">
                  <c:v>44477</c:v>
                </c:pt>
                <c:pt idx="99">
                  <c:v>44478</c:v>
                </c:pt>
                <c:pt idx="100">
                  <c:v>44479</c:v>
                </c:pt>
                <c:pt idx="101">
                  <c:v>44480</c:v>
                </c:pt>
                <c:pt idx="102">
                  <c:v>44481</c:v>
                </c:pt>
                <c:pt idx="103">
                  <c:v>44482</c:v>
                </c:pt>
                <c:pt idx="104">
                  <c:v>44483</c:v>
                </c:pt>
                <c:pt idx="105">
                  <c:v>44484</c:v>
                </c:pt>
                <c:pt idx="106">
                  <c:v>44485</c:v>
                </c:pt>
                <c:pt idx="107">
                  <c:v>44486</c:v>
                </c:pt>
                <c:pt idx="108">
                  <c:v>44487</c:v>
                </c:pt>
                <c:pt idx="109">
                  <c:v>44488</c:v>
                </c:pt>
                <c:pt idx="110">
                  <c:v>44489</c:v>
                </c:pt>
                <c:pt idx="111">
                  <c:v>44490</c:v>
                </c:pt>
                <c:pt idx="112">
                  <c:v>44491</c:v>
                </c:pt>
                <c:pt idx="113">
                  <c:v>44492</c:v>
                </c:pt>
                <c:pt idx="114">
                  <c:v>44493</c:v>
                </c:pt>
                <c:pt idx="115">
                  <c:v>44494</c:v>
                </c:pt>
                <c:pt idx="116">
                  <c:v>44495</c:v>
                </c:pt>
                <c:pt idx="117">
                  <c:v>44496</c:v>
                </c:pt>
                <c:pt idx="118">
                  <c:v>44497</c:v>
                </c:pt>
                <c:pt idx="119">
                  <c:v>44498</c:v>
                </c:pt>
                <c:pt idx="120">
                  <c:v>44499</c:v>
                </c:pt>
                <c:pt idx="121">
                  <c:v>44500</c:v>
                </c:pt>
                <c:pt idx="122">
                  <c:v>44501</c:v>
                </c:pt>
                <c:pt idx="123">
                  <c:v>44502</c:v>
                </c:pt>
                <c:pt idx="124">
                  <c:v>44503</c:v>
                </c:pt>
                <c:pt idx="125">
                  <c:v>44504</c:v>
                </c:pt>
                <c:pt idx="126">
                  <c:v>44505</c:v>
                </c:pt>
                <c:pt idx="127">
                  <c:v>44506</c:v>
                </c:pt>
                <c:pt idx="128">
                  <c:v>44507</c:v>
                </c:pt>
                <c:pt idx="129">
                  <c:v>44508</c:v>
                </c:pt>
                <c:pt idx="130">
                  <c:v>44509</c:v>
                </c:pt>
                <c:pt idx="131">
                  <c:v>44510</c:v>
                </c:pt>
                <c:pt idx="132">
                  <c:v>44511</c:v>
                </c:pt>
                <c:pt idx="133">
                  <c:v>44512</c:v>
                </c:pt>
                <c:pt idx="134">
                  <c:v>44513</c:v>
                </c:pt>
                <c:pt idx="135">
                  <c:v>44514</c:v>
                </c:pt>
                <c:pt idx="136">
                  <c:v>44515</c:v>
                </c:pt>
                <c:pt idx="137">
                  <c:v>44516</c:v>
                </c:pt>
                <c:pt idx="138">
                  <c:v>44517</c:v>
                </c:pt>
                <c:pt idx="139">
                  <c:v>44518</c:v>
                </c:pt>
                <c:pt idx="140">
                  <c:v>44519</c:v>
                </c:pt>
                <c:pt idx="141">
                  <c:v>44520</c:v>
                </c:pt>
                <c:pt idx="142">
                  <c:v>44521</c:v>
                </c:pt>
                <c:pt idx="143">
                  <c:v>44522</c:v>
                </c:pt>
                <c:pt idx="144">
                  <c:v>44523</c:v>
                </c:pt>
                <c:pt idx="145">
                  <c:v>44524</c:v>
                </c:pt>
                <c:pt idx="146">
                  <c:v>44525</c:v>
                </c:pt>
                <c:pt idx="147">
                  <c:v>44526</c:v>
                </c:pt>
                <c:pt idx="148">
                  <c:v>44527</c:v>
                </c:pt>
                <c:pt idx="149">
                  <c:v>44528</c:v>
                </c:pt>
                <c:pt idx="150">
                  <c:v>44529</c:v>
                </c:pt>
                <c:pt idx="151">
                  <c:v>44530</c:v>
                </c:pt>
                <c:pt idx="152">
                  <c:v>44531</c:v>
                </c:pt>
                <c:pt idx="153">
                  <c:v>44532</c:v>
                </c:pt>
                <c:pt idx="154">
                  <c:v>44533</c:v>
                </c:pt>
                <c:pt idx="155">
                  <c:v>44534</c:v>
                </c:pt>
                <c:pt idx="156">
                  <c:v>44535</c:v>
                </c:pt>
                <c:pt idx="157">
                  <c:v>44536</c:v>
                </c:pt>
                <c:pt idx="158">
                  <c:v>44537</c:v>
                </c:pt>
                <c:pt idx="159">
                  <c:v>44538</c:v>
                </c:pt>
                <c:pt idx="160">
                  <c:v>44539</c:v>
                </c:pt>
                <c:pt idx="161">
                  <c:v>44540</c:v>
                </c:pt>
                <c:pt idx="162">
                  <c:v>44541</c:v>
                </c:pt>
                <c:pt idx="163">
                  <c:v>44542</c:v>
                </c:pt>
                <c:pt idx="164">
                  <c:v>44543</c:v>
                </c:pt>
                <c:pt idx="165">
                  <c:v>44544</c:v>
                </c:pt>
                <c:pt idx="166">
                  <c:v>44545</c:v>
                </c:pt>
                <c:pt idx="167">
                  <c:v>44546</c:v>
                </c:pt>
                <c:pt idx="168">
                  <c:v>44547</c:v>
                </c:pt>
                <c:pt idx="169">
                  <c:v>44548</c:v>
                </c:pt>
                <c:pt idx="170">
                  <c:v>44549</c:v>
                </c:pt>
                <c:pt idx="171">
                  <c:v>44550</c:v>
                </c:pt>
                <c:pt idx="172">
                  <c:v>44551</c:v>
                </c:pt>
                <c:pt idx="173">
                  <c:v>44552</c:v>
                </c:pt>
                <c:pt idx="174">
                  <c:v>44553</c:v>
                </c:pt>
                <c:pt idx="175">
                  <c:v>44554</c:v>
                </c:pt>
                <c:pt idx="176">
                  <c:v>44555</c:v>
                </c:pt>
                <c:pt idx="177">
                  <c:v>44556</c:v>
                </c:pt>
                <c:pt idx="178">
                  <c:v>44557</c:v>
                </c:pt>
                <c:pt idx="179">
                  <c:v>44558</c:v>
                </c:pt>
                <c:pt idx="180">
                  <c:v>44559</c:v>
                </c:pt>
                <c:pt idx="181">
                  <c:v>44560</c:v>
                </c:pt>
                <c:pt idx="182">
                  <c:v>44561</c:v>
                </c:pt>
                <c:pt idx="183">
                  <c:v>44562</c:v>
                </c:pt>
                <c:pt idx="184">
                  <c:v>44563</c:v>
                </c:pt>
                <c:pt idx="185">
                  <c:v>44564</c:v>
                </c:pt>
                <c:pt idx="186">
                  <c:v>44565</c:v>
                </c:pt>
                <c:pt idx="187">
                  <c:v>44566</c:v>
                </c:pt>
                <c:pt idx="188">
                  <c:v>44567</c:v>
                </c:pt>
                <c:pt idx="189">
                  <c:v>44568</c:v>
                </c:pt>
                <c:pt idx="190">
                  <c:v>44569</c:v>
                </c:pt>
                <c:pt idx="191">
                  <c:v>44570</c:v>
                </c:pt>
                <c:pt idx="192">
                  <c:v>44571</c:v>
                </c:pt>
                <c:pt idx="193">
                  <c:v>44572</c:v>
                </c:pt>
                <c:pt idx="194">
                  <c:v>44573</c:v>
                </c:pt>
                <c:pt idx="195">
                  <c:v>44574</c:v>
                </c:pt>
                <c:pt idx="196">
                  <c:v>44575</c:v>
                </c:pt>
                <c:pt idx="197">
                  <c:v>44576</c:v>
                </c:pt>
                <c:pt idx="198">
                  <c:v>44577</c:v>
                </c:pt>
                <c:pt idx="199">
                  <c:v>44578</c:v>
                </c:pt>
                <c:pt idx="200">
                  <c:v>44579</c:v>
                </c:pt>
                <c:pt idx="201">
                  <c:v>44580</c:v>
                </c:pt>
                <c:pt idx="202">
                  <c:v>44581</c:v>
                </c:pt>
                <c:pt idx="203">
                  <c:v>44582</c:v>
                </c:pt>
                <c:pt idx="204">
                  <c:v>44583</c:v>
                </c:pt>
                <c:pt idx="205">
                  <c:v>44584</c:v>
                </c:pt>
                <c:pt idx="206">
                  <c:v>44585</c:v>
                </c:pt>
                <c:pt idx="207">
                  <c:v>44586</c:v>
                </c:pt>
                <c:pt idx="208">
                  <c:v>44587</c:v>
                </c:pt>
                <c:pt idx="209">
                  <c:v>44588</c:v>
                </c:pt>
                <c:pt idx="210">
                  <c:v>44589</c:v>
                </c:pt>
                <c:pt idx="211">
                  <c:v>44590</c:v>
                </c:pt>
                <c:pt idx="212">
                  <c:v>44591</c:v>
                </c:pt>
                <c:pt idx="213">
                  <c:v>44592</c:v>
                </c:pt>
                <c:pt idx="214">
                  <c:v>44593</c:v>
                </c:pt>
                <c:pt idx="215">
                  <c:v>44594</c:v>
                </c:pt>
                <c:pt idx="216">
                  <c:v>44595</c:v>
                </c:pt>
                <c:pt idx="217">
                  <c:v>44596</c:v>
                </c:pt>
                <c:pt idx="218">
                  <c:v>44597</c:v>
                </c:pt>
                <c:pt idx="219">
                  <c:v>44598</c:v>
                </c:pt>
                <c:pt idx="220">
                  <c:v>44599</c:v>
                </c:pt>
                <c:pt idx="221">
                  <c:v>44600</c:v>
                </c:pt>
                <c:pt idx="222">
                  <c:v>44601</c:v>
                </c:pt>
                <c:pt idx="223">
                  <c:v>44602</c:v>
                </c:pt>
                <c:pt idx="224">
                  <c:v>44603</c:v>
                </c:pt>
                <c:pt idx="225">
                  <c:v>44604</c:v>
                </c:pt>
                <c:pt idx="226">
                  <c:v>44605</c:v>
                </c:pt>
                <c:pt idx="227">
                  <c:v>44606</c:v>
                </c:pt>
                <c:pt idx="228">
                  <c:v>44607</c:v>
                </c:pt>
                <c:pt idx="229">
                  <c:v>44608</c:v>
                </c:pt>
                <c:pt idx="230">
                  <c:v>44609</c:v>
                </c:pt>
                <c:pt idx="231">
                  <c:v>44610</c:v>
                </c:pt>
                <c:pt idx="232">
                  <c:v>44611</c:v>
                </c:pt>
                <c:pt idx="233">
                  <c:v>44612</c:v>
                </c:pt>
                <c:pt idx="234">
                  <c:v>44613</c:v>
                </c:pt>
                <c:pt idx="235">
                  <c:v>44614</c:v>
                </c:pt>
                <c:pt idx="236">
                  <c:v>44615</c:v>
                </c:pt>
                <c:pt idx="237">
                  <c:v>44616</c:v>
                </c:pt>
                <c:pt idx="238">
                  <c:v>44617</c:v>
                </c:pt>
                <c:pt idx="239">
                  <c:v>44618</c:v>
                </c:pt>
                <c:pt idx="240">
                  <c:v>44619</c:v>
                </c:pt>
                <c:pt idx="241">
                  <c:v>44620</c:v>
                </c:pt>
                <c:pt idx="242">
                  <c:v>44621</c:v>
                </c:pt>
                <c:pt idx="243">
                  <c:v>44622</c:v>
                </c:pt>
                <c:pt idx="244">
                  <c:v>44623</c:v>
                </c:pt>
                <c:pt idx="245">
                  <c:v>44624</c:v>
                </c:pt>
                <c:pt idx="246">
                  <c:v>44625</c:v>
                </c:pt>
                <c:pt idx="247">
                  <c:v>44626</c:v>
                </c:pt>
                <c:pt idx="248">
                  <c:v>44627</c:v>
                </c:pt>
                <c:pt idx="249">
                  <c:v>44628</c:v>
                </c:pt>
                <c:pt idx="250">
                  <c:v>44629</c:v>
                </c:pt>
                <c:pt idx="251">
                  <c:v>44630</c:v>
                </c:pt>
                <c:pt idx="252">
                  <c:v>44631</c:v>
                </c:pt>
                <c:pt idx="253">
                  <c:v>44632</c:v>
                </c:pt>
                <c:pt idx="254">
                  <c:v>44633</c:v>
                </c:pt>
                <c:pt idx="255">
                  <c:v>44634</c:v>
                </c:pt>
                <c:pt idx="256">
                  <c:v>44635</c:v>
                </c:pt>
                <c:pt idx="257">
                  <c:v>44636</c:v>
                </c:pt>
                <c:pt idx="258">
                  <c:v>44637</c:v>
                </c:pt>
                <c:pt idx="259">
                  <c:v>44638</c:v>
                </c:pt>
                <c:pt idx="260">
                  <c:v>44639</c:v>
                </c:pt>
                <c:pt idx="261">
                  <c:v>44640</c:v>
                </c:pt>
                <c:pt idx="262">
                  <c:v>44641</c:v>
                </c:pt>
                <c:pt idx="263">
                  <c:v>44642</c:v>
                </c:pt>
                <c:pt idx="264">
                  <c:v>44643</c:v>
                </c:pt>
                <c:pt idx="265">
                  <c:v>44644</c:v>
                </c:pt>
                <c:pt idx="266">
                  <c:v>44645</c:v>
                </c:pt>
                <c:pt idx="267">
                  <c:v>44646</c:v>
                </c:pt>
                <c:pt idx="268">
                  <c:v>44647</c:v>
                </c:pt>
                <c:pt idx="269">
                  <c:v>44648</c:v>
                </c:pt>
                <c:pt idx="270">
                  <c:v>44649</c:v>
                </c:pt>
                <c:pt idx="271">
                  <c:v>44650</c:v>
                </c:pt>
                <c:pt idx="272">
                  <c:v>44651</c:v>
                </c:pt>
                <c:pt idx="273">
                  <c:v>44652</c:v>
                </c:pt>
              </c:numCache>
            </c:numRef>
          </c:cat>
          <c:val>
            <c:numRef>
              <c:f>Sheet1!$B$146:$B$419</c:f>
              <c:numCache>
                <c:formatCode>General</c:formatCode>
                <c:ptCount val="274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2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3</c:v>
                </c:pt>
                <c:pt idx="15">
                  <c:v>2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4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3</c:v>
                </c:pt>
                <c:pt idx="25">
                  <c:v>1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7</c:v>
                </c:pt>
                <c:pt idx="34">
                  <c:v>1</c:v>
                </c:pt>
                <c:pt idx="35">
                  <c:v>2</c:v>
                </c:pt>
                <c:pt idx="36">
                  <c:v>0</c:v>
                </c:pt>
                <c:pt idx="37">
                  <c:v>3</c:v>
                </c:pt>
                <c:pt idx="38">
                  <c:v>2</c:v>
                </c:pt>
                <c:pt idx="39">
                  <c:v>0</c:v>
                </c:pt>
                <c:pt idx="40">
                  <c:v>4</c:v>
                </c:pt>
                <c:pt idx="41">
                  <c:v>1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3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1</c:v>
                </c:pt>
                <c:pt idx="50">
                  <c:v>0</c:v>
                </c:pt>
                <c:pt idx="51">
                  <c:v>0</c:v>
                </c:pt>
                <c:pt idx="52">
                  <c:v>2</c:v>
                </c:pt>
                <c:pt idx="53">
                  <c:v>0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4</c:v>
                </c:pt>
                <c:pt idx="61">
                  <c:v>4</c:v>
                </c:pt>
                <c:pt idx="62">
                  <c:v>1</c:v>
                </c:pt>
                <c:pt idx="63">
                  <c:v>1</c:v>
                </c:pt>
                <c:pt idx="64">
                  <c:v>3</c:v>
                </c:pt>
                <c:pt idx="65">
                  <c:v>1</c:v>
                </c:pt>
                <c:pt idx="66">
                  <c:v>0</c:v>
                </c:pt>
                <c:pt idx="67">
                  <c:v>2</c:v>
                </c:pt>
                <c:pt idx="68">
                  <c:v>0</c:v>
                </c:pt>
                <c:pt idx="69">
                  <c:v>0</c:v>
                </c:pt>
                <c:pt idx="70">
                  <c:v>3</c:v>
                </c:pt>
                <c:pt idx="71">
                  <c:v>3</c:v>
                </c:pt>
                <c:pt idx="72">
                  <c:v>0</c:v>
                </c:pt>
                <c:pt idx="73">
                  <c:v>4</c:v>
                </c:pt>
                <c:pt idx="74">
                  <c:v>2</c:v>
                </c:pt>
                <c:pt idx="75">
                  <c:v>0</c:v>
                </c:pt>
                <c:pt idx="76">
                  <c:v>1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0</c:v>
                </c:pt>
                <c:pt idx="81">
                  <c:v>3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0</c:v>
                </c:pt>
                <c:pt idx="86">
                  <c:v>2</c:v>
                </c:pt>
                <c:pt idx="87">
                  <c:v>6</c:v>
                </c:pt>
                <c:pt idx="88">
                  <c:v>4</c:v>
                </c:pt>
                <c:pt idx="89">
                  <c:v>3</c:v>
                </c:pt>
                <c:pt idx="90">
                  <c:v>9</c:v>
                </c:pt>
                <c:pt idx="91">
                  <c:v>2</c:v>
                </c:pt>
                <c:pt idx="92">
                  <c:v>5</c:v>
                </c:pt>
                <c:pt idx="93">
                  <c:v>1</c:v>
                </c:pt>
                <c:pt idx="94">
                  <c:v>0</c:v>
                </c:pt>
                <c:pt idx="95">
                  <c:v>2</c:v>
                </c:pt>
                <c:pt idx="96">
                  <c:v>5</c:v>
                </c:pt>
                <c:pt idx="97">
                  <c:v>6</c:v>
                </c:pt>
                <c:pt idx="98">
                  <c:v>6</c:v>
                </c:pt>
                <c:pt idx="99">
                  <c:v>1</c:v>
                </c:pt>
                <c:pt idx="100">
                  <c:v>1</c:v>
                </c:pt>
                <c:pt idx="101">
                  <c:v>3</c:v>
                </c:pt>
                <c:pt idx="102">
                  <c:v>10</c:v>
                </c:pt>
                <c:pt idx="103">
                  <c:v>7</c:v>
                </c:pt>
                <c:pt idx="104">
                  <c:v>7</c:v>
                </c:pt>
                <c:pt idx="105">
                  <c:v>6</c:v>
                </c:pt>
                <c:pt idx="106">
                  <c:v>5</c:v>
                </c:pt>
                <c:pt idx="107">
                  <c:v>8</c:v>
                </c:pt>
                <c:pt idx="108">
                  <c:v>17</c:v>
                </c:pt>
                <c:pt idx="109">
                  <c:v>17</c:v>
                </c:pt>
                <c:pt idx="110">
                  <c:v>13</c:v>
                </c:pt>
                <c:pt idx="111">
                  <c:v>13</c:v>
                </c:pt>
                <c:pt idx="112">
                  <c:v>17</c:v>
                </c:pt>
                <c:pt idx="113">
                  <c:v>15</c:v>
                </c:pt>
                <c:pt idx="114">
                  <c:v>12</c:v>
                </c:pt>
                <c:pt idx="115">
                  <c:v>28</c:v>
                </c:pt>
                <c:pt idx="116">
                  <c:v>20</c:v>
                </c:pt>
                <c:pt idx="117">
                  <c:v>25</c:v>
                </c:pt>
                <c:pt idx="118">
                  <c:v>22</c:v>
                </c:pt>
                <c:pt idx="119">
                  <c:v>38</c:v>
                </c:pt>
                <c:pt idx="120">
                  <c:v>22</c:v>
                </c:pt>
                <c:pt idx="121">
                  <c:v>18</c:v>
                </c:pt>
                <c:pt idx="122">
                  <c:v>57</c:v>
                </c:pt>
                <c:pt idx="123">
                  <c:v>38</c:v>
                </c:pt>
                <c:pt idx="124">
                  <c:v>39</c:v>
                </c:pt>
                <c:pt idx="125">
                  <c:v>27</c:v>
                </c:pt>
                <c:pt idx="126">
                  <c:v>41</c:v>
                </c:pt>
                <c:pt idx="127">
                  <c:v>21</c:v>
                </c:pt>
                <c:pt idx="128">
                  <c:v>19</c:v>
                </c:pt>
                <c:pt idx="129">
                  <c:v>53</c:v>
                </c:pt>
                <c:pt idx="130">
                  <c:v>47</c:v>
                </c:pt>
                <c:pt idx="131">
                  <c:v>47</c:v>
                </c:pt>
                <c:pt idx="132">
                  <c:v>49</c:v>
                </c:pt>
                <c:pt idx="133">
                  <c:v>44</c:v>
                </c:pt>
                <c:pt idx="134">
                  <c:v>49</c:v>
                </c:pt>
                <c:pt idx="135">
                  <c:v>23</c:v>
                </c:pt>
                <c:pt idx="136">
                  <c:v>65</c:v>
                </c:pt>
                <c:pt idx="137">
                  <c:v>61</c:v>
                </c:pt>
                <c:pt idx="138">
                  <c:v>43</c:v>
                </c:pt>
                <c:pt idx="139">
                  <c:v>57</c:v>
                </c:pt>
                <c:pt idx="140">
                  <c:v>83</c:v>
                </c:pt>
                <c:pt idx="141">
                  <c:v>51</c:v>
                </c:pt>
                <c:pt idx="142">
                  <c:v>32</c:v>
                </c:pt>
                <c:pt idx="143">
                  <c:v>64</c:v>
                </c:pt>
                <c:pt idx="144">
                  <c:v>71</c:v>
                </c:pt>
                <c:pt idx="145">
                  <c:v>44</c:v>
                </c:pt>
                <c:pt idx="146">
                  <c:v>70</c:v>
                </c:pt>
                <c:pt idx="147">
                  <c:v>54</c:v>
                </c:pt>
                <c:pt idx="148">
                  <c:v>35</c:v>
                </c:pt>
                <c:pt idx="149">
                  <c:v>40</c:v>
                </c:pt>
                <c:pt idx="150">
                  <c:v>64</c:v>
                </c:pt>
                <c:pt idx="151">
                  <c:v>51</c:v>
                </c:pt>
                <c:pt idx="152">
                  <c:v>58</c:v>
                </c:pt>
                <c:pt idx="153">
                  <c:v>45</c:v>
                </c:pt>
                <c:pt idx="154">
                  <c:v>52</c:v>
                </c:pt>
                <c:pt idx="155">
                  <c:v>27</c:v>
                </c:pt>
                <c:pt idx="156">
                  <c:v>17</c:v>
                </c:pt>
                <c:pt idx="157">
                  <c:v>47</c:v>
                </c:pt>
                <c:pt idx="158">
                  <c:v>45</c:v>
                </c:pt>
                <c:pt idx="159">
                  <c:v>31</c:v>
                </c:pt>
                <c:pt idx="160">
                  <c:v>33</c:v>
                </c:pt>
                <c:pt idx="161">
                  <c:v>34</c:v>
                </c:pt>
                <c:pt idx="162">
                  <c:v>21</c:v>
                </c:pt>
                <c:pt idx="163">
                  <c:v>13</c:v>
                </c:pt>
                <c:pt idx="164">
                  <c:v>29</c:v>
                </c:pt>
                <c:pt idx="165">
                  <c:v>25</c:v>
                </c:pt>
                <c:pt idx="166">
                  <c:v>26</c:v>
                </c:pt>
                <c:pt idx="167">
                  <c:v>16</c:v>
                </c:pt>
                <c:pt idx="168">
                  <c:v>25</c:v>
                </c:pt>
                <c:pt idx="169">
                  <c:v>20</c:v>
                </c:pt>
                <c:pt idx="170">
                  <c:v>15</c:v>
                </c:pt>
                <c:pt idx="171">
                  <c:v>27</c:v>
                </c:pt>
                <c:pt idx="172">
                  <c:v>31</c:v>
                </c:pt>
                <c:pt idx="173">
                  <c:v>22</c:v>
                </c:pt>
                <c:pt idx="174">
                  <c:v>25</c:v>
                </c:pt>
                <c:pt idx="175">
                  <c:v>4</c:v>
                </c:pt>
                <c:pt idx="176">
                  <c:v>12</c:v>
                </c:pt>
                <c:pt idx="177">
                  <c:v>8</c:v>
                </c:pt>
                <c:pt idx="178">
                  <c:v>27</c:v>
                </c:pt>
                <c:pt idx="179">
                  <c:v>34</c:v>
                </c:pt>
                <c:pt idx="180">
                  <c:v>27</c:v>
                </c:pt>
                <c:pt idx="181">
                  <c:v>23</c:v>
                </c:pt>
                <c:pt idx="182">
                  <c:v>22</c:v>
                </c:pt>
                <c:pt idx="183">
                  <c:v>6</c:v>
                </c:pt>
                <c:pt idx="184">
                  <c:v>27</c:v>
                </c:pt>
                <c:pt idx="185">
                  <c:v>41</c:v>
                </c:pt>
                <c:pt idx="186">
                  <c:v>31</c:v>
                </c:pt>
                <c:pt idx="187">
                  <c:v>21</c:v>
                </c:pt>
                <c:pt idx="188">
                  <c:v>26</c:v>
                </c:pt>
                <c:pt idx="189">
                  <c:v>20</c:v>
                </c:pt>
                <c:pt idx="190">
                  <c:v>18</c:v>
                </c:pt>
                <c:pt idx="191">
                  <c:v>16</c:v>
                </c:pt>
                <c:pt idx="192">
                  <c:v>38</c:v>
                </c:pt>
                <c:pt idx="193">
                  <c:v>52</c:v>
                </c:pt>
                <c:pt idx="194">
                  <c:v>80</c:v>
                </c:pt>
                <c:pt idx="195">
                  <c:v>46</c:v>
                </c:pt>
                <c:pt idx="196">
                  <c:v>58</c:v>
                </c:pt>
                <c:pt idx="197">
                  <c:v>41</c:v>
                </c:pt>
                <c:pt idx="198">
                  <c:v>53</c:v>
                </c:pt>
                <c:pt idx="199">
                  <c:v>133</c:v>
                </c:pt>
                <c:pt idx="200">
                  <c:v>112</c:v>
                </c:pt>
                <c:pt idx="201">
                  <c:v>149</c:v>
                </c:pt>
                <c:pt idx="202">
                  <c:v>128</c:v>
                </c:pt>
                <c:pt idx="203">
                  <c:v>107</c:v>
                </c:pt>
                <c:pt idx="204">
                  <c:v>68</c:v>
                </c:pt>
                <c:pt idx="205">
                  <c:v>94</c:v>
                </c:pt>
                <c:pt idx="206">
                  <c:v>203</c:v>
                </c:pt>
                <c:pt idx="207">
                  <c:v>175</c:v>
                </c:pt>
                <c:pt idx="208">
                  <c:v>184</c:v>
                </c:pt>
                <c:pt idx="209">
                  <c:v>211</c:v>
                </c:pt>
                <c:pt idx="210">
                  <c:v>195</c:v>
                </c:pt>
                <c:pt idx="211">
                  <c:v>75</c:v>
                </c:pt>
                <c:pt idx="212">
                  <c:v>120</c:v>
                </c:pt>
                <c:pt idx="213">
                  <c:v>216</c:v>
                </c:pt>
                <c:pt idx="214">
                  <c:v>240</c:v>
                </c:pt>
                <c:pt idx="215">
                  <c:v>180</c:v>
                </c:pt>
                <c:pt idx="216">
                  <c:v>146</c:v>
                </c:pt>
                <c:pt idx="217">
                  <c:v>151</c:v>
                </c:pt>
                <c:pt idx="218">
                  <c:v>90</c:v>
                </c:pt>
                <c:pt idx="219">
                  <c:v>65</c:v>
                </c:pt>
                <c:pt idx="220">
                  <c:v>167</c:v>
                </c:pt>
                <c:pt idx="221">
                  <c:v>140</c:v>
                </c:pt>
                <c:pt idx="222">
                  <c:v>123</c:v>
                </c:pt>
                <c:pt idx="223">
                  <c:v>114</c:v>
                </c:pt>
                <c:pt idx="224">
                  <c:v>108</c:v>
                </c:pt>
                <c:pt idx="225">
                  <c:v>55</c:v>
                </c:pt>
                <c:pt idx="226">
                  <c:v>53</c:v>
                </c:pt>
                <c:pt idx="227">
                  <c:v>163</c:v>
                </c:pt>
                <c:pt idx="228">
                  <c:v>102</c:v>
                </c:pt>
                <c:pt idx="229">
                  <c:v>94</c:v>
                </c:pt>
                <c:pt idx="230">
                  <c:v>75</c:v>
                </c:pt>
                <c:pt idx="231">
                  <c:v>74</c:v>
                </c:pt>
                <c:pt idx="232">
                  <c:v>45</c:v>
                </c:pt>
                <c:pt idx="233">
                  <c:v>46</c:v>
                </c:pt>
                <c:pt idx="234">
                  <c:v>85</c:v>
                </c:pt>
                <c:pt idx="235">
                  <c:v>68</c:v>
                </c:pt>
                <c:pt idx="236">
                  <c:v>63</c:v>
                </c:pt>
                <c:pt idx="237">
                  <c:v>57</c:v>
                </c:pt>
                <c:pt idx="238">
                  <c:v>48</c:v>
                </c:pt>
                <c:pt idx="239">
                  <c:v>33</c:v>
                </c:pt>
                <c:pt idx="240">
                  <c:v>36</c:v>
                </c:pt>
                <c:pt idx="241">
                  <c:v>86</c:v>
                </c:pt>
                <c:pt idx="242">
                  <c:v>54</c:v>
                </c:pt>
                <c:pt idx="243">
                  <c:v>64</c:v>
                </c:pt>
                <c:pt idx="244">
                  <c:v>48</c:v>
                </c:pt>
                <c:pt idx="245">
                  <c:v>53</c:v>
                </c:pt>
                <c:pt idx="246">
                  <c:v>40</c:v>
                </c:pt>
                <c:pt idx="247">
                  <c:v>31</c:v>
                </c:pt>
                <c:pt idx="248">
                  <c:v>89</c:v>
                </c:pt>
                <c:pt idx="249">
                  <c:v>72</c:v>
                </c:pt>
                <c:pt idx="250">
                  <c:v>62</c:v>
                </c:pt>
                <c:pt idx="251">
                  <c:v>54</c:v>
                </c:pt>
                <c:pt idx="252">
                  <c:v>46</c:v>
                </c:pt>
                <c:pt idx="253">
                  <c:v>26</c:v>
                </c:pt>
                <c:pt idx="254">
                  <c:v>30</c:v>
                </c:pt>
                <c:pt idx="255">
                  <c:v>89</c:v>
                </c:pt>
                <c:pt idx="256">
                  <c:v>59</c:v>
                </c:pt>
                <c:pt idx="257">
                  <c:v>61</c:v>
                </c:pt>
                <c:pt idx="258">
                  <c:v>57</c:v>
                </c:pt>
                <c:pt idx="259">
                  <c:v>43</c:v>
                </c:pt>
                <c:pt idx="260">
                  <c:v>20</c:v>
                </c:pt>
                <c:pt idx="261">
                  <c:v>20</c:v>
                </c:pt>
                <c:pt idx="262">
                  <c:v>104</c:v>
                </c:pt>
                <c:pt idx="263">
                  <c:v>75</c:v>
                </c:pt>
                <c:pt idx="264">
                  <c:v>58</c:v>
                </c:pt>
                <c:pt idx="265">
                  <c:v>63</c:v>
                </c:pt>
                <c:pt idx="266">
                  <c:v>44</c:v>
                </c:pt>
                <c:pt idx="267">
                  <c:v>17</c:v>
                </c:pt>
                <c:pt idx="268">
                  <c:v>31</c:v>
                </c:pt>
                <c:pt idx="269">
                  <c:v>64</c:v>
                </c:pt>
                <c:pt idx="270">
                  <c:v>72</c:v>
                </c:pt>
                <c:pt idx="271">
                  <c:v>65</c:v>
                </c:pt>
                <c:pt idx="272">
                  <c:v>52</c:v>
                </c:pt>
                <c:pt idx="27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56471970000000005</c:v>
                </c:pt>
                <c:pt idx="11">
                  <c:v>4.5177576000000004</c:v>
                </c:pt>
                <c:pt idx="12">
                  <c:v>12.7061932</c:v>
                </c:pt>
                <c:pt idx="13">
                  <c:v>11.577048</c:v>
                </c:pt>
                <c:pt idx="14">
                  <c:v>7.9086885000000002</c:v>
                </c:pt>
                <c:pt idx="15">
                  <c:v>4.2383537000000002</c:v>
                </c:pt>
                <c:pt idx="16">
                  <c:v>5.0879076999999997</c:v>
                </c:pt>
                <c:pt idx="17">
                  <c:v>3.9587273999999999</c:v>
                </c:pt>
                <c:pt idx="18">
                  <c:v>1.6971109</c:v>
                </c:pt>
                <c:pt idx="19">
                  <c:v>1.9802371999999999</c:v>
                </c:pt>
                <c:pt idx="20">
                  <c:v>0.56587010000000004</c:v>
                </c:pt>
                <c:pt idx="21">
                  <c:v>0.56595010000000001</c:v>
                </c:pt>
                <c:pt idx="22">
                  <c:v>1.4150676</c:v>
                </c:pt>
                <c:pt idx="23">
                  <c:v>1.132179</c:v>
                </c:pt>
                <c:pt idx="24">
                  <c:v>1.1322943999999999</c:v>
                </c:pt>
                <c:pt idx="25">
                  <c:v>1.1324129999999999</c:v>
                </c:pt>
                <c:pt idx="26">
                  <c:v>1.6987878999999999</c:v>
                </c:pt>
                <c:pt idx="27">
                  <c:v>0.2831361</c:v>
                </c:pt>
                <c:pt idx="28">
                  <c:v>1.6987878999999999</c:v>
                </c:pt>
                <c:pt idx="29">
                  <c:v>1.4156325000000001</c:v>
                </c:pt>
                <c:pt idx="30">
                  <c:v>4.2468133999999997</c:v>
                </c:pt>
                <c:pt idx="31">
                  <c:v>3.6797068999999998</c:v>
                </c:pt>
                <c:pt idx="32">
                  <c:v>5.3752184999999999</c:v>
                </c:pt>
                <c:pt idx="33">
                  <c:v>4.8069037999999997</c:v>
                </c:pt>
                <c:pt idx="34">
                  <c:v>7.9130915999999996</c:v>
                </c:pt>
                <c:pt idx="35">
                  <c:v>9.0365868000000003</c:v>
                </c:pt>
                <c:pt idx="36">
                  <c:v>21.695396599999999</c:v>
                </c:pt>
                <c:pt idx="37">
                  <c:v>38.786052699999999</c:v>
                </c:pt>
                <c:pt idx="38">
                  <c:v>51.586133400000001</c:v>
                </c:pt>
                <c:pt idx="39">
                  <c:v>62.364713299999998</c:v>
                </c:pt>
                <c:pt idx="40">
                  <c:v>118.0990244</c:v>
                </c:pt>
                <c:pt idx="41">
                  <c:v>211.7213869</c:v>
                </c:pt>
                <c:pt idx="42">
                  <c:v>302.66968029999998</c:v>
                </c:pt>
                <c:pt idx="43">
                  <c:v>283.46833809999998</c:v>
                </c:pt>
                <c:pt idx="44">
                  <c:v>197.2847606</c:v>
                </c:pt>
                <c:pt idx="45">
                  <c:v>118.2184342</c:v>
                </c:pt>
                <c:pt idx="46">
                  <c:v>94.264334899999994</c:v>
                </c:pt>
                <c:pt idx="47">
                  <c:v>86.727134699999993</c:v>
                </c:pt>
                <c:pt idx="48">
                  <c:v>91.699016</c:v>
                </c:pt>
                <c:pt idx="49">
                  <c:v>124.1777046</c:v>
                </c:pt>
                <c:pt idx="50">
                  <c:v>140.8141669</c:v>
                </c:pt>
                <c:pt idx="51">
                  <c:v>201.0390721</c:v>
                </c:pt>
                <c:pt idx="52">
                  <c:v>191.83200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93.276331099999993</c:v>
                </c:pt>
                <c:pt idx="1">
                  <c:v>190.22071149999999</c:v>
                </c:pt>
                <c:pt idx="2">
                  <c:v>123.6413345</c:v>
                </c:pt>
                <c:pt idx="3">
                  <c:v>102.57892870000001</c:v>
                </c:pt>
                <c:pt idx="4">
                  <c:v>67.866947400000001</c:v>
                </c:pt>
                <c:pt idx="5">
                  <c:v>56.490571899999999</c:v>
                </c:pt>
                <c:pt idx="6">
                  <c:v>45.0995949</c:v>
                </c:pt>
                <c:pt idx="7">
                  <c:v>38.990480699999999</c:v>
                </c:pt>
                <c:pt idx="8">
                  <c:v>52.936882500000003</c:v>
                </c:pt>
                <c:pt idx="9">
                  <c:v>52.679549399999999</c:v>
                </c:pt>
                <c:pt idx="10">
                  <c:v>29.5499212</c:v>
                </c:pt>
                <c:pt idx="11">
                  <c:v>29.552392699999999</c:v>
                </c:pt>
                <c:pt idx="12">
                  <c:v>18.9597245</c:v>
                </c:pt>
                <c:pt idx="13">
                  <c:v>14.499542699999999</c:v>
                </c:pt>
                <c:pt idx="14">
                  <c:v>10.0363259</c:v>
                </c:pt>
                <c:pt idx="15">
                  <c:v>7.5253981999999997</c:v>
                </c:pt>
                <c:pt idx="16">
                  <c:v>10.0314038</c:v>
                </c:pt>
                <c:pt idx="17">
                  <c:v>7.2431064999999997</c:v>
                </c:pt>
                <c:pt idx="18">
                  <c:v>3.9000256000000002</c:v>
                </c:pt>
                <c:pt idx="19">
                  <c:v>3.6221888999999998</c:v>
                </c:pt>
                <c:pt idx="20">
                  <c:v>2.7868738</c:v>
                </c:pt>
                <c:pt idx="21">
                  <c:v>3.344929</c:v>
                </c:pt>
                <c:pt idx="22">
                  <c:v>1.3940079000000001</c:v>
                </c:pt>
                <c:pt idx="23">
                  <c:v>0.27886759999999999</c:v>
                </c:pt>
                <c:pt idx="24">
                  <c:v>0.55786760000000002</c:v>
                </c:pt>
                <c:pt idx="25">
                  <c:v>0</c:v>
                </c:pt>
                <c:pt idx="26">
                  <c:v>0.27905990000000003</c:v>
                </c:pt>
                <c:pt idx="27">
                  <c:v>0.83697180000000004</c:v>
                </c:pt>
                <c:pt idx="28">
                  <c:v>1.6732853999999999</c:v>
                </c:pt>
                <c:pt idx="29">
                  <c:v>3.6240065000000001</c:v>
                </c:pt>
                <c:pt idx="30">
                  <c:v>2.7865864</c:v>
                </c:pt>
                <c:pt idx="31">
                  <c:v>2.5067962000000001</c:v>
                </c:pt>
                <c:pt idx="32">
                  <c:v>2.5054563000000001</c:v>
                </c:pt>
                <c:pt idx="33">
                  <c:v>1.3911766000000001</c:v>
                </c:pt>
                <c:pt idx="34">
                  <c:v>1.3904453999999999</c:v>
                </c:pt>
                <c:pt idx="35">
                  <c:v>3.0566933000000001</c:v>
                </c:pt>
                <c:pt idx="36">
                  <c:v>2.4958955999999999</c:v>
                </c:pt>
                <c:pt idx="37">
                  <c:v>3.3204573000000002</c:v>
                </c:pt>
                <c:pt idx="38">
                  <c:v>3.589197</c:v>
                </c:pt>
                <c:pt idx="39">
                  <c:v>7.1624752000000003</c:v>
                </c:pt>
                <c:pt idx="40">
                  <c:v>6.8796419999999996</c:v>
                </c:pt>
                <c:pt idx="41">
                  <c:v>9.6297762999999996</c:v>
                </c:pt>
                <c:pt idx="42">
                  <c:v>24.207613200000001</c:v>
                </c:pt>
                <c:pt idx="43">
                  <c:v>42.9058244</c:v>
                </c:pt>
                <c:pt idx="44">
                  <c:v>64.9050625</c:v>
                </c:pt>
                <c:pt idx="45">
                  <c:v>75.370802299999994</c:v>
                </c:pt>
                <c:pt idx="46">
                  <c:v>99.597483100000005</c:v>
                </c:pt>
                <c:pt idx="47">
                  <c:v>100.7185137</c:v>
                </c:pt>
                <c:pt idx="48">
                  <c:v>88.356000300000005</c:v>
                </c:pt>
                <c:pt idx="49">
                  <c:v>59.751631400000001</c:v>
                </c:pt>
                <c:pt idx="50">
                  <c:v>39.941052499999998</c:v>
                </c:pt>
                <c:pt idx="51">
                  <c:v>37.475888599999998</c:v>
                </c:pt>
                <c:pt idx="52">
                  <c:v>38.0410511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1.581670000000001</c:v>
                </c:pt>
                <c:pt idx="1">
                  <c:v>44.982145099999997</c:v>
                </c:pt>
                <c:pt idx="2">
                  <c:v>75.9903616</c:v>
                </c:pt>
                <c:pt idx="3">
                  <c:v>166.8474411</c:v>
                </c:pt>
                <c:pt idx="4">
                  <c:v>247.97052049999999</c:v>
                </c:pt>
                <c:pt idx="5">
                  <c:v>252.6765407</c:v>
                </c:pt>
                <c:pt idx="6">
                  <c:v>165.9520737</c:v>
                </c:pt>
                <c:pt idx="7">
                  <c:v>133.5524964</c:v>
                </c:pt>
                <c:pt idx="8">
                  <c:v>85.562685700000003</c:v>
                </c:pt>
                <c:pt idx="9">
                  <c:v>83.939952300000002</c:v>
                </c:pt>
                <c:pt idx="10">
                  <c:v>85.625483000000003</c:v>
                </c:pt>
                <c:pt idx="11">
                  <c:v>83.410256099999998</c:v>
                </c:pt>
                <c:pt idx="12">
                  <c:v>85.643816200000003</c:v>
                </c:pt>
                <c:pt idx="13">
                  <c:v>76.7532271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269148363580441E-2"/>
          <c:y val="0.13420017626081643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0B2-4BBE-A912-02DA2889190D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0B2-4BBE-A912-02DA2889190D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0B2-4BBE-A912-02DA2889190D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0B2-4BBE-A912-02DA2889190D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0B2-4BBE-A912-02DA2889190D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0B2-4BBE-A912-02DA2889190D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0B2-4BBE-A912-02DA2889190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19</c:f>
              <c:numCache>
                <c:formatCode>m/d/yyyy</c:formatCode>
                <c:ptCount val="285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  <c:pt idx="271">
                  <c:v>44639</c:v>
                </c:pt>
                <c:pt idx="272">
                  <c:v>44640</c:v>
                </c:pt>
                <c:pt idx="273">
                  <c:v>44641</c:v>
                </c:pt>
                <c:pt idx="274">
                  <c:v>44642</c:v>
                </c:pt>
                <c:pt idx="275">
                  <c:v>44643</c:v>
                </c:pt>
                <c:pt idx="276">
                  <c:v>44644</c:v>
                </c:pt>
                <c:pt idx="277">
                  <c:v>44645</c:v>
                </c:pt>
                <c:pt idx="278">
                  <c:v>44646</c:v>
                </c:pt>
                <c:pt idx="279">
                  <c:v>44647</c:v>
                </c:pt>
                <c:pt idx="280">
                  <c:v>44648</c:v>
                </c:pt>
                <c:pt idx="281">
                  <c:v>44649</c:v>
                </c:pt>
                <c:pt idx="282">
                  <c:v>44650</c:v>
                </c:pt>
                <c:pt idx="283">
                  <c:v>44651</c:v>
                </c:pt>
                <c:pt idx="284">
                  <c:v>44652</c:v>
                </c:pt>
              </c:numCache>
            </c:numRef>
          </c:cat>
          <c:val>
            <c:numRef>
              <c:f>Sheet1!$B$135:$B$419</c:f>
              <c:numCache>
                <c:formatCode>General</c:formatCode>
                <c:ptCount val="285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5</c:v>
                </c:pt>
                <c:pt idx="29">
                  <c:v>1</c:v>
                </c:pt>
                <c:pt idx="30">
                  <c:v>4</c:v>
                </c:pt>
                <c:pt idx="31">
                  <c:v>0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  <c:pt idx="35">
                  <c:v>3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2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2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1</c:v>
                </c:pt>
                <c:pt idx="56">
                  <c:v>3</c:v>
                </c:pt>
                <c:pt idx="57">
                  <c:v>3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5</c:v>
                </c:pt>
                <c:pt idx="64">
                  <c:v>2</c:v>
                </c:pt>
                <c:pt idx="65">
                  <c:v>0</c:v>
                </c:pt>
                <c:pt idx="66">
                  <c:v>2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0</c:v>
                </c:pt>
                <c:pt idx="71">
                  <c:v>2</c:v>
                </c:pt>
                <c:pt idx="72">
                  <c:v>1</c:v>
                </c:pt>
                <c:pt idx="73">
                  <c:v>6</c:v>
                </c:pt>
                <c:pt idx="74">
                  <c:v>6</c:v>
                </c:pt>
                <c:pt idx="75">
                  <c:v>1</c:v>
                </c:pt>
                <c:pt idx="76">
                  <c:v>1</c:v>
                </c:pt>
                <c:pt idx="77">
                  <c:v>2</c:v>
                </c:pt>
                <c:pt idx="78">
                  <c:v>6</c:v>
                </c:pt>
                <c:pt idx="79">
                  <c:v>1</c:v>
                </c:pt>
                <c:pt idx="80">
                  <c:v>4</c:v>
                </c:pt>
                <c:pt idx="81">
                  <c:v>0</c:v>
                </c:pt>
                <c:pt idx="82">
                  <c:v>1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8</c:v>
                </c:pt>
                <c:pt idx="88">
                  <c:v>5</c:v>
                </c:pt>
                <c:pt idx="89">
                  <c:v>2</c:v>
                </c:pt>
                <c:pt idx="90">
                  <c:v>2</c:v>
                </c:pt>
                <c:pt idx="91">
                  <c:v>9</c:v>
                </c:pt>
                <c:pt idx="92">
                  <c:v>7</c:v>
                </c:pt>
                <c:pt idx="93">
                  <c:v>5</c:v>
                </c:pt>
                <c:pt idx="94">
                  <c:v>5</c:v>
                </c:pt>
                <c:pt idx="95">
                  <c:v>7</c:v>
                </c:pt>
                <c:pt idx="96">
                  <c:v>6</c:v>
                </c:pt>
                <c:pt idx="97">
                  <c:v>6</c:v>
                </c:pt>
                <c:pt idx="98">
                  <c:v>5</c:v>
                </c:pt>
                <c:pt idx="99">
                  <c:v>9</c:v>
                </c:pt>
                <c:pt idx="100">
                  <c:v>12</c:v>
                </c:pt>
                <c:pt idx="101">
                  <c:v>16</c:v>
                </c:pt>
                <c:pt idx="102">
                  <c:v>8</c:v>
                </c:pt>
                <c:pt idx="103">
                  <c:v>5</c:v>
                </c:pt>
                <c:pt idx="104">
                  <c:v>8</c:v>
                </c:pt>
                <c:pt idx="105">
                  <c:v>10</c:v>
                </c:pt>
                <c:pt idx="106">
                  <c:v>14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5</c:v>
                </c:pt>
                <c:pt idx="111">
                  <c:v>4</c:v>
                </c:pt>
                <c:pt idx="112">
                  <c:v>18</c:v>
                </c:pt>
                <c:pt idx="113">
                  <c:v>19</c:v>
                </c:pt>
                <c:pt idx="114">
                  <c:v>22</c:v>
                </c:pt>
                <c:pt idx="115">
                  <c:v>21</c:v>
                </c:pt>
                <c:pt idx="116">
                  <c:v>17</c:v>
                </c:pt>
                <c:pt idx="117">
                  <c:v>10</c:v>
                </c:pt>
                <c:pt idx="118">
                  <c:v>10</c:v>
                </c:pt>
                <c:pt idx="119">
                  <c:v>35</c:v>
                </c:pt>
                <c:pt idx="120">
                  <c:v>28</c:v>
                </c:pt>
                <c:pt idx="121">
                  <c:v>27</c:v>
                </c:pt>
                <c:pt idx="122">
                  <c:v>53</c:v>
                </c:pt>
                <c:pt idx="123">
                  <c:v>43</c:v>
                </c:pt>
                <c:pt idx="124">
                  <c:v>34</c:v>
                </c:pt>
                <c:pt idx="125">
                  <c:v>12</c:v>
                </c:pt>
                <c:pt idx="126">
                  <c:v>65</c:v>
                </c:pt>
                <c:pt idx="127">
                  <c:v>68</c:v>
                </c:pt>
                <c:pt idx="128">
                  <c:v>75</c:v>
                </c:pt>
                <c:pt idx="129">
                  <c:v>33</c:v>
                </c:pt>
                <c:pt idx="130">
                  <c:v>82</c:v>
                </c:pt>
                <c:pt idx="131">
                  <c:v>62</c:v>
                </c:pt>
                <c:pt idx="132">
                  <c:v>37</c:v>
                </c:pt>
                <c:pt idx="133">
                  <c:v>111</c:v>
                </c:pt>
                <c:pt idx="134">
                  <c:v>103</c:v>
                </c:pt>
                <c:pt idx="135">
                  <c:v>116</c:v>
                </c:pt>
                <c:pt idx="136">
                  <c:v>103</c:v>
                </c:pt>
                <c:pt idx="137">
                  <c:v>109</c:v>
                </c:pt>
                <c:pt idx="138">
                  <c:v>84</c:v>
                </c:pt>
                <c:pt idx="139">
                  <c:v>27</c:v>
                </c:pt>
                <c:pt idx="140">
                  <c:v>134</c:v>
                </c:pt>
                <c:pt idx="141">
                  <c:v>146</c:v>
                </c:pt>
                <c:pt idx="142">
                  <c:v>168</c:v>
                </c:pt>
                <c:pt idx="143">
                  <c:v>97</c:v>
                </c:pt>
                <c:pt idx="144">
                  <c:v>161</c:v>
                </c:pt>
                <c:pt idx="145">
                  <c:v>98</c:v>
                </c:pt>
                <c:pt idx="146">
                  <c:v>54</c:v>
                </c:pt>
                <c:pt idx="147">
                  <c:v>157</c:v>
                </c:pt>
                <c:pt idx="148">
                  <c:v>227</c:v>
                </c:pt>
                <c:pt idx="149">
                  <c:v>122</c:v>
                </c:pt>
                <c:pt idx="150">
                  <c:v>168</c:v>
                </c:pt>
                <c:pt idx="151">
                  <c:v>234</c:v>
                </c:pt>
                <c:pt idx="152">
                  <c:v>155</c:v>
                </c:pt>
                <c:pt idx="153">
                  <c:v>84</c:v>
                </c:pt>
                <c:pt idx="154">
                  <c:v>189</c:v>
                </c:pt>
                <c:pt idx="155">
                  <c:v>256</c:v>
                </c:pt>
                <c:pt idx="156">
                  <c:v>138</c:v>
                </c:pt>
                <c:pt idx="157">
                  <c:v>217</c:v>
                </c:pt>
                <c:pt idx="158">
                  <c:v>184</c:v>
                </c:pt>
                <c:pt idx="159">
                  <c:v>107</c:v>
                </c:pt>
                <c:pt idx="160">
                  <c:v>78</c:v>
                </c:pt>
                <c:pt idx="161">
                  <c:v>206</c:v>
                </c:pt>
                <c:pt idx="162">
                  <c:v>166</c:v>
                </c:pt>
                <c:pt idx="163">
                  <c:v>177</c:v>
                </c:pt>
                <c:pt idx="164">
                  <c:v>150</c:v>
                </c:pt>
                <c:pt idx="165">
                  <c:v>145</c:v>
                </c:pt>
                <c:pt idx="166">
                  <c:v>84</c:v>
                </c:pt>
                <c:pt idx="167">
                  <c:v>67</c:v>
                </c:pt>
                <c:pt idx="168">
                  <c:v>169</c:v>
                </c:pt>
                <c:pt idx="169">
                  <c:v>153</c:v>
                </c:pt>
                <c:pt idx="170">
                  <c:v>119</c:v>
                </c:pt>
                <c:pt idx="171">
                  <c:v>125</c:v>
                </c:pt>
                <c:pt idx="172">
                  <c:v>112</c:v>
                </c:pt>
                <c:pt idx="173">
                  <c:v>73</c:v>
                </c:pt>
                <c:pt idx="174">
                  <c:v>58</c:v>
                </c:pt>
                <c:pt idx="175">
                  <c:v>103</c:v>
                </c:pt>
                <c:pt idx="176">
                  <c:v>126</c:v>
                </c:pt>
                <c:pt idx="177">
                  <c:v>87</c:v>
                </c:pt>
                <c:pt idx="178">
                  <c:v>67</c:v>
                </c:pt>
                <c:pt idx="179">
                  <c:v>81</c:v>
                </c:pt>
                <c:pt idx="180">
                  <c:v>47</c:v>
                </c:pt>
                <c:pt idx="181">
                  <c:v>34</c:v>
                </c:pt>
                <c:pt idx="182">
                  <c:v>90</c:v>
                </c:pt>
                <c:pt idx="183">
                  <c:v>83</c:v>
                </c:pt>
                <c:pt idx="184">
                  <c:v>52</c:v>
                </c:pt>
                <c:pt idx="185">
                  <c:v>59</c:v>
                </c:pt>
                <c:pt idx="186">
                  <c:v>22</c:v>
                </c:pt>
                <c:pt idx="187">
                  <c:v>18</c:v>
                </c:pt>
                <c:pt idx="188">
                  <c:v>19</c:v>
                </c:pt>
                <c:pt idx="189">
                  <c:v>75</c:v>
                </c:pt>
                <c:pt idx="190">
                  <c:v>93</c:v>
                </c:pt>
                <c:pt idx="191">
                  <c:v>56</c:v>
                </c:pt>
                <c:pt idx="192">
                  <c:v>52</c:v>
                </c:pt>
                <c:pt idx="193">
                  <c:v>53</c:v>
                </c:pt>
                <c:pt idx="194">
                  <c:v>12</c:v>
                </c:pt>
                <c:pt idx="195">
                  <c:v>35</c:v>
                </c:pt>
                <c:pt idx="196">
                  <c:v>100</c:v>
                </c:pt>
                <c:pt idx="197">
                  <c:v>81</c:v>
                </c:pt>
                <c:pt idx="198">
                  <c:v>56</c:v>
                </c:pt>
                <c:pt idx="199">
                  <c:v>59</c:v>
                </c:pt>
                <c:pt idx="200">
                  <c:v>67</c:v>
                </c:pt>
                <c:pt idx="201">
                  <c:v>37</c:v>
                </c:pt>
                <c:pt idx="202">
                  <c:v>31</c:v>
                </c:pt>
                <c:pt idx="203">
                  <c:v>72</c:v>
                </c:pt>
                <c:pt idx="204">
                  <c:v>107</c:v>
                </c:pt>
                <c:pt idx="205">
                  <c:v>115</c:v>
                </c:pt>
                <c:pt idx="206">
                  <c:v>98</c:v>
                </c:pt>
                <c:pt idx="207">
                  <c:v>113</c:v>
                </c:pt>
                <c:pt idx="208">
                  <c:v>92</c:v>
                </c:pt>
                <c:pt idx="209">
                  <c:v>66</c:v>
                </c:pt>
                <c:pt idx="210">
                  <c:v>239</c:v>
                </c:pt>
                <c:pt idx="211">
                  <c:v>266</c:v>
                </c:pt>
                <c:pt idx="212">
                  <c:v>287</c:v>
                </c:pt>
                <c:pt idx="213">
                  <c:v>288</c:v>
                </c:pt>
                <c:pt idx="214">
                  <c:v>310</c:v>
                </c:pt>
                <c:pt idx="215">
                  <c:v>173</c:v>
                </c:pt>
                <c:pt idx="216">
                  <c:v>183</c:v>
                </c:pt>
                <c:pt idx="217">
                  <c:v>417</c:v>
                </c:pt>
                <c:pt idx="218">
                  <c:v>381</c:v>
                </c:pt>
                <c:pt idx="219">
                  <c:v>441</c:v>
                </c:pt>
                <c:pt idx="220">
                  <c:v>806</c:v>
                </c:pt>
                <c:pt idx="221">
                  <c:v>605</c:v>
                </c:pt>
                <c:pt idx="222">
                  <c:v>215</c:v>
                </c:pt>
                <c:pt idx="223">
                  <c:v>327</c:v>
                </c:pt>
                <c:pt idx="224">
                  <c:v>634</c:v>
                </c:pt>
                <c:pt idx="225">
                  <c:v>709</c:v>
                </c:pt>
                <c:pt idx="226">
                  <c:v>567</c:v>
                </c:pt>
                <c:pt idx="227">
                  <c:v>546</c:v>
                </c:pt>
                <c:pt idx="228">
                  <c:v>407</c:v>
                </c:pt>
                <c:pt idx="229">
                  <c:v>341</c:v>
                </c:pt>
                <c:pt idx="230">
                  <c:v>175</c:v>
                </c:pt>
                <c:pt idx="231">
                  <c:v>621</c:v>
                </c:pt>
                <c:pt idx="232">
                  <c:v>543</c:v>
                </c:pt>
                <c:pt idx="233">
                  <c:v>426</c:v>
                </c:pt>
                <c:pt idx="234">
                  <c:v>371</c:v>
                </c:pt>
                <c:pt idx="235">
                  <c:v>353</c:v>
                </c:pt>
                <c:pt idx="236">
                  <c:v>197</c:v>
                </c:pt>
                <c:pt idx="237">
                  <c:v>146</c:v>
                </c:pt>
                <c:pt idx="238">
                  <c:v>416</c:v>
                </c:pt>
                <c:pt idx="239">
                  <c:v>414</c:v>
                </c:pt>
                <c:pt idx="240">
                  <c:v>311</c:v>
                </c:pt>
                <c:pt idx="241">
                  <c:v>273</c:v>
                </c:pt>
                <c:pt idx="242">
                  <c:v>241</c:v>
                </c:pt>
                <c:pt idx="243">
                  <c:v>130</c:v>
                </c:pt>
                <c:pt idx="244">
                  <c:v>90</c:v>
                </c:pt>
                <c:pt idx="245">
                  <c:v>302</c:v>
                </c:pt>
                <c:pt idx="246">
                  <c:v>239</c:v>
                </c:pt>
                <c:pt idx="247">
                  <c:v>176</c:v>
                </c:pt>
                <c:pt idx="248">
                  <c:v>167</c:v>
                </c:pt>
                <c:pt idx="249">
                  <c:v>160</c:v>
                </c:pt>
                <c:pt idx="250">
                  <c:v>99</c:v>
                </c:pt>
                <c:pt idx="251">
                  <c:v>74</c:v>
                </c:pt>
                <c:pt idx="252">
                  <c:v>226</c:v>
                </c:pt>
                <c:pt idx="253">
                  <c:v>215</c:v>
                </c:pt>
                <c:pt idx="254">
                  <c:v>158</c:v>
                </c:pt>
                <c:pt idx="255">
                  <c:v>152</c:v>
                </c:pt>
                <c:pt idx="256">
                  <c:v>161</c:v>
                </c:pt>
                <c:pt idx="257">
                  <c:v>98</c:v>
                </c:pt>
                <c:pt idx="258">
                  <c:v>60</c:v>
                </c:pt>
                <c:pt idx="259">
                  <c:v>231</c:v>
                </c:pt>
                <c:pt idx="260">
                  <c:v>170</c:v>
                </c:pt>
                <c:pt idx="261">
                  <c:v>169</c:v>
                </c:pt>
                <c:pt idx="262">
                  <c:v>157</c:v>
                </c:pt>
                <c:pt idx="263">
                  <c:v>148</c:v>
                </c:pt>
                <c:pt idx="264">
                  <c:v>78</c:v>
                </c:pt>
                <c:pt idx="265">
                  <c:v>52</c:v>
                </c:pt>
                <c:pt idx="266">
                  <c:v>220</c:v>
                </c:pt>
                <c:pt idx="267">
                  <c:v>178</c:v>
                </c:pt>
                <c:pt idx="268">
                  <c:v>163</c:v>
                </c:pt>
                <c:pt idx="269">
                  <c:v>151</c:v>
                </c:pt>
                <c:pt idx="270">
                  <c:v>162</c:v>
                </c:pt>
                <c:pt idx="271">
                  <c:v>82</c:v>
                </c:pt>
                <c:pt idx="272">
                  <c:v>52</c:v>
                </c:pt>
                <c:pt idx="273">
                  <c:v>232</c:v>
                </c:pt>
                <c:pt idx="274">
                  <c:v>173</c:v>
                </c:pt>
                <c:pt idx="275">
                  <c:v>144</c:v>
                </c:pt>
                <c:pt idx="276">
                  <c:v>136</c:v>
                </c:pt>
                <c:pt idx="277">
                  <c:v>126</c:v>
                </c:pt>
                <c:pt idx="278">
                  <c:v>60</c:v>
                </c:pt>
                <c:pt idx="279">
                  <c:v>49</c:v>
                </c:pt>
                <c:pt idx="280">
                  <c:v>209</c:v>
                </c:pt>
                <c:pt idx="281">
                  <c:v>140</c:v>
                </c:pt>
                <c:pt idx="282">
                  <c:v>112</c:v>
                </c:pt>
                <c:pt idx="283">
                  <c:v>92</c:v>
                </c:pt>
                <c:pt idx="284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0B2-4BBE-A912-02DA288919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14093749999999999</c:v>
                </c:pt>
                <c:pt idx="11">
                  <c:v>1.8321883999999999</c:v>
                </c:pt>
                <c:pt idx="12">
                  <c:v>5.3556277000000003</c:v>
                </c:pt>
                <c:pt idx="13">
                  <c:v>11.416088200000001</c:v>
                </c:pt>
                <c:pt idx="14">
                  <c:v>15.082913700000001</c:v>
                </c:pt>
                <c:pt idx="15">
                  <c:v>7.4724190000000004</c:v>
                </c:pt>
                <c:pt idx="16">
                  <c:v>6.2047160999999997</c:v>
                </c:pt>
                <c:pt idx="17">
                  <c:v>4.6544428</c:v>
                </c:pt>
                <c:pt idx="18">
                  <c:v>4.5139529999999999</c:v>
                </c:pt>
                <c:pt idx="19">
                  <c:v>2.5391558000000001</c:v>
                </c:pt>
                <c:pt idx="20">
                  <c:v>0.42320219999999997</c:v>
                </c:pt>
                <c:pt idx="21">
                  <c:v>0.98749540000000002</c:v>
                </c:pt>
                <c:pt idx="22">
                  <c:v>1.4107415999999999</c:v>
                </c:pt>
                <c:pt idx="23">
                  <c:v>2.3983691</c:v>
                </c:pt>
                <c:pt idx="24">
                  <c:v>1.9752137999999999</c:v>
                </c:pt>
                <c:pt idx="25">
                  <c:v>1.5520238</c:v>
                </c:pt>
                <c:pt idx="26">
                  <c:v>1.4109825</c:v>
                </c:pt>
                <c:pt idx="27">
                  <c:v>1.9752166</c:v>
                </c:pt>
                <c:pt idx="28">
                  <c:v>3.3856844000000001</c:v>
                </c:pt>
                <c:pt idx="29">
                  <c:v>3.1031762999999999</c:v>
                </c:pt>
                <c:pt idx="30">
                  <c:v>5.2183600999999999</c:v>
                </c:pt>
                <c:pt idx="31">
                  <c:v>3.6666609999999999</c:v>
                </c:pt>
                <c:pt idx="32">
                  <c:v>4.0896103999999998</c:v>
                </c:pt>
                <c:pt idx="33">
                  <c:v>4.7945601</c:v>
                </c:pt>
                <c:pt idx="34">
                  <c:v>6.6275779999999997</c:v>
                </c:pt>
                <c:pt idx="35">
                  <c:v>10.855911000000001</c:v>
                </c:pt>
                <c:pt idx="36">
                  <c:v>16.335658299999999</c:v>
                </c:pt>
                <c:pt idx="37">
                  <c:v>36.285746000000003</c:v>
                </c:pt>
                <c:pt idx="38">
                  <c:v>42.559467300000001</c:v>
                </c:pt>
                <c:pt idx="39">
                  <c:v>62.422673000000003</c:v>
                </c:pt>
                <c:pt idx="40">
                  <c:v>116.6990285</c:v>
                </c:pt>
                <c:pt idx="41">
                  <c:v>242.80710199999999</c:v>
                </c:pt>
                <c:pt idx="42">
                  <c:v>382.06836959999998</c:v>
                </c:pt>
                <c:pt idx="43">
                  <c:v>441.57447409999997</c:v>
                </c:pt>
                <c:pt idx="44">
                  <c:v>373.31443510000003</c:v>
                </c:pt>
                <c:pt idx="45">
                  <c:v>235.66400519999999</c:v>
                </c:pt>
                <c:pt idx="46">
                  <c:v>177.2306629</c:v>
                </c:pt>
                <c:pt idx="47">
                  <c:v>160.22297689999999</c:v>
                </c:pt>
                <c:pt idx="48">
                  <c:v>141.1579677</c:v>
                </c:pt>
                <c:pt idx="49">
                  <c:v>165.99790970000001</c:v>
                </c:pt>
                <c:pt idx="50">
                  <c:v>165.7061717</c:v>
                </c:pt>
                <c:pt idx="51">
                  <c:v>195.33982889999999</c:v>
                </c:pt>
                <c:pt idx="52">
                  <c:v>230.8704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79.425040100000004</c:v>
                </c:pt>
                <c:pt idx="1">
                  <c:v>265.0878596</c:v>
                </c:pt>
                <c:pt idx="2">
                  <c:v>174.8188782</c:v>
                </c:pt>
                <c:pt idx="3">
                  <c:v>140.1486324</c:v>
                </c:pt>
                <c:pt idx="4">
                  <c:v>108.6195057</c:v>
                </c:pt>
                <c:pt idx="5">
                  <c:v>94.239849399999997</c:v>
                </c:pt>
                <c:pt idx="6">
                  <c:v>88.137522200000006</c:v>
                </c:pt>
                <c:pt idx="7">
                  <c:v>92.721372200000005</c:v>
                </c:pt>
                <c:pt idx="8">
                  <c:v>105.77295460000001</c:v>
                </c:pt>
                <c:pt idx="9">
                  <c:v>101.59554970000001</c:v>
                </c:pt>
                <c:pt idx="10">
                  <c:v>89.890632999999994</c:v>
                </c:pt>
                <c:pt idx="11">
                  <c:v>75.562000999999995</c:v>
                </c:pt>
                <c:pt idx="12">
                  <c:v>54.597255099999998</c:v>
                </c:pt>
                <c:pt idx="13">
                  <c:v>38.085952300000002</c:v>
                </c:pt>
                <c:pt idx="14">
                  <c:v>34.594845900000003</c:v>
                </c:pt>
                <c:pt idx="15">
                  <c:v>20.599828200000001</c:v>
                </c:pt>
                <c:pt idx="16">
                  <c:v>15.7466828</c:v>
                </c:pt>
                <c:pt idx="17">
                  <c:v>9.9362560999999996</c:v>
                </c:pt>
                <c:pt idx="18">
                  <c:v>10.347096799999999</c:v>
                </c:pt>
                <c:pt idx="19">
                  <c:v>8.1427154999999996</c:v>
                </c:pt>
                <c:pt idx="20">
                  <c:v>3.4515798000000002</c:v>
                </c:pt>
                <c:pt idx="21">
                  <c:v>3.1766200000000002</c:v>
                </c:pt>
                <c:pt idx="22">
                  <c:v>1.6578913</c:v>
                </c:pt>
                <c:pt idx="23">
                  <c:v>0.69087109999999996</c:v>
                </c:pt>
                <c:pt idx="24">
                  <c:v>1.2436985</c:v>
                </c:pt>
                <c:pt idx="25">
                  <c:v>0.55281290000000005</c:v>
                </c:pt>
                <c:pt idx="26">
                  <c:v>0.96746410000000005</c:v>
                </c:pt>
                <c:pt idx="27">
                  <c:v>0.82865140000000004</c:v>
                </c:pt>
                <c:pt idx="28">
                  <c:v>1.379767</c:v>
                </c:pt>
                <c:pt idx="29">
                  <c:v>1.7919862</c:v>
                </c:pt>
                <c:pt idx="30">
                  <c:v>1.1017083000000001</c:v>
                </c:pt>
                <c:pt idx="31">
                  <c:v>0.82594679999999998</c:v>
                </c:pt>
                <c:pt idx="32">
                  <c:v>1.2393381999999999</c:v>
                </c:pt>
                <c:pt idx="33">
                  <c:v>1.7907470000000001</c:v>
                </c:pt>
                <c:pt idx="34">
                  <c:v>1.2401629999999999</c:v>
                </c:pt>
                <c:pt idx="35">
                  <c:v>2.3429790000000001</c:v>
                </c:pt>
                <c:pt idx="36">
                  <c:v>1.928186</c:v>
                </c:pt>
                <c:pt idx="37">
                  <c:v>3.3027324999999998</c:v>
                </c:pt>
                <c:pt idx="38">
                  <c:v>5.0875120000000003</c:v>
                </c:pt>
                <c:pt idx="39">
                  <c:v>7.9684340000000002</c:v>
                </c:pt>
                <c:pt idx="40">
                  <c:v>8.3775788000000002</c:v>
                </c:pt>
                <c:pt idx="41">
                  <c:v>13.5962864</c:v>
                </c:pt>
                <c:pt idx="42">
                  <c:v>25.818962299999999</c:v>
                </c:pt>
                <c:pt idx="43">
                  <c:v>46.693483299999997</c:v>
                </c:pt>
                <c:pt idx="44">
                  <c:v>82.401169999999993</c:v>
                </c:pt>
                <c:pt idx="45">
                  <c:v>104.7935854</c:v>
                </c:pt>
                <c:pt idx="46">
                  <c:v>132.82000070000001</c:v>
                </c:pt>
                <c:pt idx="47">
                  <c:v>155.9050943</c:v>
                </c:pt>
                <c:pt idx="48">
                  <c:v>128.72576599999999</c:v>
                </c:pt>
                <c:pt idx="49">
                  <c:v>104.3340559</c:v>
                </c:pt>
                <c:pt idx="50">
                  <c:v>73.728966200000002</c:v>
                </c:pt>
                <c:pt idx="51">
                  <c:v>48.313633899999999</c:v>
                </c:pt>
                <c:pt idx="52">
                  <c:v>45.5910305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9.6475740999999999</c:v>
                </c:pt>
                <c:pt idx="1">
                  <c:v>49.957701499999999</c:v>
                </c:pt>
                <c:pt idx="2">
                  <c:v>65.704385500000001</c:v>
                </c:pt>
                <c:pt idx="3">
                  <c:v>164.43537380000001</c:v>
                </c:pt>
                <c:pt idx="4">
                  <c:v>288.6413981</c:v>
                </c:pt>
                <c:pt idx="5">
                  <c:v>337.03641829999998</c:v>
                </c:pt>
                <c:pt idx="6">
                  <c:v>259.057976</c:v>
                </c:pt>
                <c:pt idx="7">
                  <c:v>190.61393570000001</c:v>
                </c:pt>
                <c:pt idx="8">
                  <c:v>118.0690208</c:v>
                </c:pt>
                <c:pt idx="9">
                  <c:v>105.43344860000001</c:v>
                </c:pt>
                <c:pt idx="10">
                  <c:v>101.0016461</c:v>
                </c:pt>
                <c:pt idx="11">
                  <c:v>97.814999799999995</c:v>
                </c:pt>
                <c:pt idx="12">
                  <c:v>93.231244099999998</c:v>
                </c:pt>
                <c:pt idx="13">
                  <c:v>77.337684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19</c:f>
              <c:numCache>
                <c:formatCode>m/d/yyyy</c:formatCode>
                <c:ptCount val="285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  <c:pt idx="271">
                  <c:v>44639</c:v>
                </c:pt>
                <c:pt idx="272">
                  <c:v>44640</c:v>
                </c:pt>
                <c:pt idx="273">
                  <c:v>44641</c:v>
                </c:pt>
                <c:pt idx="274">
                  <c:v>44642</c:v>
                </c:pt>
                <c:pt idx="275">
                  <c:v>44643</c:v>
                </c:pt>
                <c:pt idx="276">
                  <c:v>44644</c:v>
                </c:pt>
                <c:pt idx="277">
                  <c:v>44645</c:v>
                </c:pt>
                <c:pt idx="278">
                  <c:v>44646</c:v>
                </c:pt>
                <c:pt idx="279">
                  <c:v>44647</c:v>
                </c:pt>
                <c:pt idx="280">
                  <c:v>44648</c:v>
                </c:pt>
                <c:pt idx="281">
                  <c:v>44649</c:v>
                </c:pt>
                <c:pt idx="282">
                  <c:v>44650</c:v>
                </c:pt>
                <c:pt idx="283">
                  <c:v>44651</c:v>
                </c:pt>
                <c:pt idx="284">
                  <c:v>44652</c:v>
                </c:pt>
              </c:numCache>
            </c:numRef>
          </c:cat>
          <c:val>
            <c:numRef>
              <c:f>Sheet1!$B$135:$B$419</c:f>
              <c:numCache>
                <c:formatCode>General</c:formatCode>
                <c:ptCount val="285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1</c:v>
                </c:pt>
                <c:pt idx="21">
                  <c:v>2</c:v>
                </c:pt>
                <c:pt idx="22">
                  <c:v>0</c:v>
                </c:pt>
                <c:pt idx="23">
                  <c:v>4</c:v>
                </c:pt>
                <c:pt idx="24">
                  <c:v>2</c:v>
                </c:pt>
                <c:pt idx="25">
                  <c:v>5</c:v>
                </c:pt>
                <c:pt idx="26">
                  <c:v>1</c:v>
                </c:pt>
                <c:pt idx="27">
                  <c:v>1</c:v>
                </c:pt>
                <c:pt idx="28">
                  <c:v>4</c:v>
                </c:pt>
                <c:pt idx="29">
                  <c:v>5</c:v>
                </c:pt>
                <c:pt idx="30">
                  <c:v>1</c:v>
                </c:pt>
                <c:pt idx="31">
                  <c:v>3</c:v>
                </c:pt>
                <c:pt idx="32">
                  <c:v>2</c:v>
                </c:pt>
                <c:pt idx="33">
                  <c:v>0</c:v>
                </c:pt>
                <c:pt idx="34">
                  <c:v>2</c:v>
                </c:pt>
                <c:pt idx="35">
                  <c:v>3</c:v>
                </c:pt>
                <c:pt idx="36">
                  <c:v>3</c:v>
                </c:pt>
                <c:pt idx="37">
                  <c:v>1</c:v>
                </c:pt>
                <c:pt idx="38">
                  <c:v>4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4</c:v>
                </c:pt>
                <c:pt idx="44">
                  <c:v>2</c:v>
                </c:pt>
                <c:pt idx="45">
                  <c:v>1</c:v>
                </c:pt>
                <c:pt idx="46">
                  <c:v>4</c:v>
                </c:pt>
                <c:pt idx="47">
                  <c:v>1</c:v>
                </c:pt>
                <c:pt idx="48">
                  <c:v>0</c:v>
                </c:pt>
                <c:pt idx="49">
                  <c:v>8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7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3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3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0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5</c:v>
                </c:pt>
                <c:pt idx="74">
                  <c:v>6</c:v>
                </c:pt>
                <c:pt idx="75">
                  <c:v>5</c:v>
                </c:pt>
                <c:pt idx="76">
                  <c:v>1</c:v>
                </c:pt>
                <c:pt idx="77">
                  <c:v>5</c:v>
                </c:pt>
                <c:pt idx="78">
                  <c:v>4</c:v>
                </c:pt>
                <c:pt idx="79">
                  <c:v>1</c:v>
                </c:pt>
                <c:pt idx="80">
                  <c:v>3</c:v>
                </c:pt>
                <c:pt idx="81">
                  <c:v>2</c:v>
                </c:pt>
                <c:pt idx="82">
                  <c:v>0</c:v>
                </c:pt>
                <c:pt idx="83">
                  <c:v>3</c:v>
                </c:pt>
                <c:pt idx="84">
                  <c:v>2</c:v>
                </c:pt>
                <c:pt idx="85">
                  <c:v>3</c:v>
                </c:pt>
                <c:pt idx="86">
                  <c:v>5</c:v>
                </c:pt>
                <c:pt idx="87">
                  <c:v>8</c:v>
                </c:pt>
                <c:pt idx="88">
                  <c:v>4</c:v>
                </c:pt>
                <c:pt idx="89">
                  <c:v>2</c:v>
                </c:pt>
                <c:pt idx="90">
                  <c:v>6</c:v>
                </c:pt>
                <c:pt idx="91">
                  <c:v>8</c:v>
                </c:pt>
                <c:pt idx="92">
                  <c:v>9</c:v>
                </c:pt>
                <c:pt idx="93">
                  <c:v>8</c:v>
                </c:pt>
                <c:pt idx="94">
                  <c:v>7</c:v>
                </c:pt>
                <c:pt idx="95">
                  <c:v>5</c:v>
                </c:pt>
                <c:pt idx="96">
                  <c:v>4</c:v>
                </c:pt>
                <c:pt idx="97">
                  <c:v>2</c:v>
                </c:pt>
                <c:pt idx="98">
                  <c:v>7</c:v>
                </c:pt>
                <c:pt idx="99">
                  <c:v>6</c:v>
                </c:pt>
                <c:pt idx="100">
                  <c:v>9</c:v>
                </c:pt>
                <c:pt idx="101">
                  <c:v>12</c:v>
                </c:pt>
                <c:pt idx="102">
                  <c:v>11</c:v>
                </c:pt>
                <c:pt idx="103">
                  <c:v>4</c:v>
                </c:pt>
                <c:pt idx="104">
                  <c:v>6</c:v>
                </c:pt>
                <c:pt idx="105">
                  <c:v>10</c:v>
                </c:pt>
                <c:pt idx="106">
                  <c:v>13</c:v>
                </c:pt>
                <c:pt idx="107">
                  <c:v>13</c:v>
                </c:pt>
                <c:pt idx="108">
                  <c:v>15</c:v>
                </c:pt>
                <c:pt idx="109">
                  <c:v>11</c:v>
                </c:pt>
                <c:pt idx="110">
                  <c:v>8</c:v>
                </c:pt>
                <c:pt idx="111">
                  <c:v>5</c:v>
                </c:pt>
                <c:pt idx="112">
                  <c:v>19</c:v>
                </c:pt>
                <c:pt idx="113">
                  <c:v>31</c:v>
                </c:pt>
                <c:pt idx="114">
                  <c:v>19</c:v>
                </c:pt>
                <c:pt idx="115">
                  <c:v>19</c:v>
                </c:pt>
                <c:pt idx="116">
                  <c:v>14</c:v>
                </c:pt>
                <c:pt idx="117">
                  <c:v>9</c:v>
                </c:pt>
                <c:pt idx="118">
                  <c:v>12</c:v>
                </c:pt>
                <c:pt idx="119">
                  <c:v>39</c:v>
                </c:pt>
                <c:pt idx="120">
                  <c:v>56</c:v>
                </c:pt>
                <c:pt idx="121">
                  <c:v>48</c:v>
                </c:pt>
                <c:pt idx="122">
                  <c:v>54</c:v>
                </c:pt>
                <c:pt idx="123">
                  <c:v>46</c:v>
                </c:pt>
                <c:pt idx="124">
                  <c:v>28</c:v>
                </c:pt>
                <c:pt idx="125">
                  <c:v>22</c:v>
                </c:pt>
                <c:pt idx="126">
                  <c:v>81</c:v>
                </c:pt>
                <c:pt idx="127">
                  <c:v>88</c:v>
                </c:pt>
                <c:pt idx="128">
                  <c:v>64</c:v>
                </c:pt>
                <c:pt idx="129">
                  <c:v>43</c:v>
                </c:pt>
                <c:pt idx="130">
                  <c:v>82</c:v>
                </c:pt>
                <c:pt idx="131">
                  <c:v>55</c:v>
                </c:pt>
                <c:pt idx="132">
                  <c:v>42</c:v>
                </c:pt>
                <c:pt idx="133">
                  <c:v>135</c:v>
                </c:pt>
                <c:pt idx="134">
                  <c:v>129</c:v>
                </c:pt>
                <c:pt idx="135">
                  <c:v>108</c:v>
                </c:pt>
                <c:pt idx="136">
                  <c:v>114</c:v>
                </c:pt>
                <c:pt idx="137">
                  <c:v>133</c:v>
                </c:pt>
                <c:pt idx="138">
                  <c:v>55</c:v>
                </c:pt>
                <c:pt idx="139">
                  <c:v>40</c:v>
                </c:pt>
                <c:pt idx="140">
                  <c:v>130</c:v>
                </c:pt>
                <c:pt idx="141">
                  <c:v>146</c:v>
                </c:pt>
                <c:pt idx="142">
                  <c:v>148</c:v>
                </c:pt>
                <c:pt idx="143">
                  <c:v>121</c:v>
                </c:pt>
                <c:pt idx="144">
                  <c:v>172</c:v>
                </c:pt>
                <c:pt idx="145">
                  <c:v>93</c:v>
                </c:pt>
                <c:pt idx="146">
                  <c:v>53</c:v>
                </c:pt>
                <c:pt idx="147">
                  <c:v>166</c:v>
                </c:pt>
                <c:pt idx="148">
                  <c:v>199</c:v>
                </c:pt>
                <c:pt idx="149">
                  <c:v>143</c:v>
                </c:pt>
                <c:pt idx="150">
                  <c:v>165</c:v>
                </c:pt>
                <c:pt idx="151">
                  <c:v>260</c:v>
                </c:pt>
                <c:pt idx="152">
                  <c:v>124</c:v>
                </c:pt>
                <c:pt idx="153">
                  <c:v>89</c:v>
                </c:pt>
                <c:pt idx="154">
                  <c:v>204</c:v>
                </c:pt>
                <c:pt idx="155">
                  <c:v>219</c:v>
                </c:pt>
                <c:pt idx="156">
                  <c:v>185</c:v>
                </c:pt>
                <c:pt idx="157">
                  <c:v>263</c:v>
                </c:pt>
                <c:pt idx="158">
                  <c:v>158</c:v>
                </c:pt>
                <c:pt idx="159">
                  <c:v>118</c:v>
                </c:pt>
                <c:pt idx="160">
                  <c:v>85</c:v>
                </c:pt>
                <c:pt idx="161">
                  <c:v>207</c:v>
                </c:pt>
                <c:pt idx="162">
                  <c:v>199</c:v>
                </c:pt>
                <c:pt idx="163">
                  <c:v>172</c:v>
                </c:pt>
                <c:pt idx="164">
                  <c:v>134</c:v>
                </c:pt>
                <c:pt idx="165">
                  <c:v>161</c:v>
                </c:pt>
                <c:pt idx="166">
                  <c:v>99</c:v>
                </c:pt>
                <c:pt idx="167">
                  <c:v>65</c:v>
                </c:pt>
                <c:pt idx="168">
                  <c:v>197</c:v>
                </c:pt>
                <c:pt idx="169">
                  <c:v>167</c:v>
                </c:pt>
                <c:pt idx="170">
                  <c:v>141</c:v>
                </c:pt>
                <c:pt idx="171">
                  <c:v>117</c:v>
                </c:pt>
                <c:pt idx="172">
                  <c:v>100</c:v>
                </c:pt>
                <c:pt idx="173">
                  <c:v>79</c:v>
                </c:pt>
                <c:pt idx="174">
                  <c:v>63</c:v>
                </c:pt>
                <c:pt idx="175">
                  <c:v>123</c:v>
                </c:pt>
                <c:pt idx="176">
                  <c:v>174</c:v>
                </c:pt>
                <c:pt idx="177">
                  <c:v>96</c:v>
                </c:pt>
                <c:pt idx="178">
                  <c:v>90</c:v>
                </c:pt>
                <c:pt idx="179">
                  <c:v>97</c:v>
                </c:pt>
                <c:pt idx="180">
                  <c:v>63</c:v>
                </c:pt>
                <c:pt idx="181">
                  <c:v>43</c:v>
                </c:pt>
                <c:pt idx="182">
                  <c:v>107</c:v>
                </c:pt>
                <c:pt idx="183">
                  <c:v>99</c:v>
                </c:pt>
                <c:pt idx="184">
                  <c:v>45</c:v>
                </c:pt>
                <c:pt idx="185">
                  <c:v>78</c:v>
                </c:pt>
                <c:pt idx="186">
                  <c:v>22</c:v>
                </c:pt>
                <c:pt idx="187">
                  <c:v>14</c:v>
                </c:pt>
                <c:pt idx="188">
                  <c:v>22</c:v>
                </c:pt>
                <c:pt idx="189">
                  <c:v>70</c:v>
                </c:pt>
                <c:pt idx="190">
                  <c:v>94</c:v>
                </c:pt>
                <c:pt idx="191">
                  <c:v>67</c:v>
                </c:pt>
                <c:pt idx="192">
                  <c:v>64</c:v>
                </c:pt>
                <c:pt idx="193">
                  <c:v>76</c:v>
                </c:pt>
                <c:pt idx="194">
                  <c:v>15</c:v>
                </c:pt>
                <c:pt idx="195">
                  <c:v>28</c:v>
                </c:pt>
                <c:pt idx="196">
                  <c:v>101</c:v>
                </c:pt>
                <c:pt idx="197">
                  <c:v>97</c:v>
                </c:pt>
                <c:pt idx="198">
                  <c:v>86</c:v>
                </c:pt>
                <c:pt idx="199">
                  <c:v>78</c:v>
                </c:pt>
                <c:pt idx="200">
                  <c:v>78</c:v>
                </c:pt>
                <c:pt idx="201">
                  <c:v>35</c:v>
                </c:pt>
                <c:pt idx="202">
                  <c:v>28</c:v>
                </c:pt>
                <c:pt idx="203">
                  <c:v>83</c:v>
                </c:pt>
                <c:pt idx="204">
                  <c:v>115</c:v>
                </c:pt>
                <c:pt idx="205">
                  <c:v>115</c:v>
                </c:pt>
                <c:pt idx="206">
                  <c:v>95</c:v>
                </c:pt>
                <c:pt idx="207">
                  <c:v>112</c:v>
                </c:pt>
                <c:pt idx="208">
                  <c:v>79</c:v>
                </c:pt>
                <c:pt idx="209">
                  <c:v>68</c:v>
                </c:pt>
                <c:pt idx="210">
                  <c:v>212</c:v>
                </c:pt>
                <c:pt idx="211">
                  <c:v>248</c:v>
                </c:pt>
                <c:pt idx="212">
                  <c:v>305</c:v>
                </c:pt>
                <c:pt idx="213">
                  <c:v>297</c:v>
                </c:pt>
                <c:pt idx="214">
                  <c:v>263</c:v>
                </c:pt>
                <c:pt idx="215">
                  <c:v>174</c:v>
                </c:pt>
                <c:pt idx="216">
                  <c:v>166</c:v>
                </c:pt>
                <c:pt idx="217">
                  <c:v>370</c:v>
                </c:pt>
                <c:pt idx="218">
                  <c:v>358</c:v>
                </c:pt>
                <c:pt idx="219">
                  <c:v>451</c:v>
                </c:pt>
                <c:pt idx="220">
                  <c:v>645</c:v>
                </c:pt>
                <c:pt idx="221">
                  <c:v>543</c:v>
                </c:pt>
                <c:pt idx="222">
                  <c:v>222</c:v>
                </c:pt>
                <c:pt idx="223">
                  <c:v>240</c:v>
                </c:pt>
                <c:pt idx="224">
                  <c:v>515</c:v>
                </c:pt>
                <c:pt idx="225">
                  <c:v>657</c:v>
                </c:pt>
                <c:pt idx="226">
                  <c:v>515</c:v>
                </c:pt>
                <c:pt idx="227">
                  <c:v>484</c:v>
                </c:pt>
                <c:pt idx="228">
                  <c:v>411</c:v>
                </c:pt>
                <c:pt idx="229">
                  <c:v>268</c:v>
                </c:pt>
                <c:pt idx="230">
                  <c:v>147</c:v>
                </c:pt>
                <c:pt idx="231">
                  <c:v>574</c:v>
                </c:pt>
                <c:pt idx="232">
                  <c:v>486</c:v>
                </c:pt>
                <c:pt idx="233">
                  <c:v>412</c:v>
                </c:pt>
                <c:pt idx="234">
                  <c:v>359</c:v>
                </c:pt>
                <c:pt idx="235">
                  <c:v>311</c:v>
                </c:pt>
                <c:pt idx="236">
                  <c:v>159</c:v>
                </c:pt>
                <c:pt idx="237">
                  <c:v>123</c:v>
                </c:pt>
                <c:pt idx="238">
                  <c:v>323</c:v>
                </c:pt>
                <c:pt idx="239">
                  <c:v>374</c:v>
                </c:pt>
                <c:pt idx="240">
                  <c:v>250</c:v>
                </c:pt>
                <c:pt idx="241">
                  <c:v>233</c:v>
                </c:pt>
                <c:pt idx="242">
                  <c:v>197</c:v>
                </c:pt>
                <c:pt idx="243">
                  <c:v>108</c:v>
                </c:pt>
                <c:pt idx="244">
                  <c:v>70</c:v>
                </c:pt>
                <c:pt idx="245">
                  <c:v>260</c:v>
                </c:pt>
                <c:pt idx="246">
                  <c:v>211</c:v>
                </c:pt>
                <c:pt idx="247">
                  <c:v>160</c:v>
                </c:pt>
                <c:pt idx="248">
                  <c:v>171</c:v>
                </c:pt>
                <c:pt idx="249">
                  <c:v>133</c:v>
                </c:pt>
                <c:pt idx="250">
                  <c:v>85</c:v>
                </c:pt>
                <c:pt idx="251">
                  <c:v>52</c:v>
                </c:pt>
                <c:pt idx="252">
                  <c:v>218</c:v>
                </c:pt>
                <c:pt idx="253">
                  <c:v>182</c:v>
                </c:pt>
                <c:pt idx="254">
                  <c:v>147</c:v>
                </c:pt>
                <c:pt idx="255">
                  <c:v>124</c:v>
                </c:pt>
                <c:pt idx="256">
                  <c:v>111</c:v>
                </c:pt>
                <c:pt idx="257">
                  <c:v>68</c:v>
                </c:pt>
                <c:pt idx="258">
                  <c:v>48</c:v>
                </c:pt>
                <c:pt idx="259">
                  <c:v>211</c:v>
                </c:pt>
                <c:pt idx="260">
                  <c:v>166</c:v>
                </c:pt>
                <c:pt idx="261">
                  <c:v>179</c:v>
                </c:pt>
                <c:pt idx="262">
                  <c:v>123</c:v>
                </c:pt>
                <c:pt idx="263">
                  <c:v>124</c:v>
                </c:pt>
                <c:pt idx="264">
                  <c:v>65</c:v>
                </c:pt>
                <c:pt idx="265">
                  <c:v>44</c:v>
                </c:pt>
                <c:pt idx="266">
                  <c:v>227</c:v>
                </c:pt>
                <c:pt idx="267">
                  <c:v>166</c:v>
                </c:pt>
                <c:pt idx="268">
                  <c:v>137</c:v>
                </c:pt>
                <c:pt idx="269">
                  <c:v>128</c:v>
                </c:pt>
                <c:pt idx="270">
                  <c:v>151</c:v>
                </c:pt>
                <c:pt idx="271">
                  <c:v>62</c:v>
                </c:pt>
                <c:pt idx="272">
                  <c:v>36</c:v>
                </c:pt>
                <c:pt idx="273">
                  <c:v>201</c:v>
                </c:pt>
                <c:pt idx="274">
                  <c:v>166</c:v>
                </c:pt>
                <c:pt idx="275">
                  <c:v>148</c:v>
                </c:pt>
                <c:pt idx="276">
                  <c:v>120</c:v>
                </c:pt>
                <c:pt idx="277">
                  <c:v>113</c:v>
                </c:pt>
                <c:pt idx="278">
                  <c:v>54</c:v>
                </c:pt>
                <c:pt idx="279">
                  <c:v>42</c:v>
                </c:pt>
                <c:pt idx="280">
                  <c:v>176</c:v>
                </c:pt>
                <c:pt idx="281">
                  <c:v>153</c:v>
                </c:pt>
                <c:pt idx="282">
                  <c:v>107</c:v>
                </c:pt>
                <c:pt idx="283">
                  <c:v>100</c:v>
                </c:pt>
                <c:pt idx="284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32531850000000001</c:v>
                </c:pt>
                <c:pt idx="11">
                  <c:v>1.3012741999999999</c:v>
                </c:pt>
                <c:pt idx="12">
                  <c:v>5.3677562999999999</c:v>
                </c:pt>
                <c:pt idx="13">
                  <c:v>8.2948947999999998</c:v>
                </c:pt>
                <c:pt idx="14">
                  <c:v>14.458684699999999</c:v>
                </c:pt>
                <c:pt idx="15">
                  <c:v>8.1110500000000005</c:v>
                </c:pt>
                <c:pt idx="16">
                  <c:v>7.613321</c:v>
                </c:pt>
                <c:pt idx="17">
                  <c:v>3.3967665999999999</c:v>
                </c:pt>
                <c:pt idx="18">
                  <c:v>3.7167992000000001</c:v>
                </c:pt>
                <c:pt idx="19">
                  <c:v>0.64628289999999999</c:v>
                </c:pt>
                <c:pt idx="20">
                  <c:v>0.64616589999999996</c:v>
                </c:pt>
                <c:pt idx="21">
                  <c:v>0.96907359999999998</c:v>
                </c:pt>
                <c:pt idx="22">
                  <c:v>1.4533217</c:v>
                </c:pt>
                <c:pt idx="23">
                  <c:v>2.583024</c:v>
                </c:pt>
                <c:pt idx="24">
                  <c:v>2.0981616000000001</c:v>
                </c:pt>
                <c:pt idx="25">
                  <c:v>1.6135512000000001</c:v>
                </c:pt>
                <c:pt idx="26">
                  <c:v>1.2905015</c:v>
                </c:pt>
                <c:pt idx="27">
                  <c:v>2.2579552000000001</c:v>
                </c:pt>
                <c:pt idx="28">
                  <c:v>2.5801832</c:v>
                </c:pt>
                <c:pt idx="29">
                  <c:v>4.0310031999999998</c:v>
                </c:pt>
                <c:pt idx="30">
                  <c:v>3.3855949999999999</c:v>
                </c:pt>
                <c:pt idx="31">
                  <c:v>3.8683285000000001</c:v>
                </c:pt>
                <c:pt idx="32">
                  <c:v>6.4447834999999998</c:v>
                </c:pt>
                <c:pt idx="33">
                  <c:v>7.0866014000000002</c:v>
                </c:pt>
                <c:pt idx="34">
                  <c:v>5.9569329</c:v>
                </c:pt>
                <c:pt idx="35">
                  <c:v>7.2412809999999999</c:v>
                </c:pt>
                <c:pt idx="36">
                  <c:v>20.571105299999999</c:v>
                </c:pt>
                <c:pt idx="37">
                  <c:v>38.516906499999997</c:v>
                </c:pt>
                <c:pt idx="38">
                  <c:v>45.674833599999999</c:v>
                </c:pt>
                <c:pt idx="39">
                  <c:v>56.4920215</c:v>
                </c:pt>
                <c:pt idx="40">
                  <c:v>118.7155077</c:v>
                </c:pt>
                <c:pt idx="41">
                  <c:v>219.69886729999999</c:v>
                </c:pt>
                <c:pt idx="42">
                  <c:v>365.16119980000002</c:v>
                </c:pt>
                <c:pt idx="43">
                  <c:v>386.91058570000001</c:v>
                </c:pt>
                <c:pt idx="44">
                  <c:v>337.95474669999999</c:v>
                </c:pt>
                <c:pt idx="45">
                  <c:v>217.0915737</c:v>
                </c:pt>
                <c:pt idx="46">
                  <c:v>146.14840670000001</c:v>
                </c:pt>
                <c:pt idx="47">
                  <c:v>121.7272086</c:v>
                </c:pt>
                <c:pt idx="48">
                  <c:v>110.4596025</c:v>
                </c:pt>
                <c:pt idx="49">
                  <c:v>128.97517690000001</c:v>
                </c:pt>
                <c:pt idx="50">
                  <c:v>145.74247080000001</c:v>
                </c:pt>
                <c:pt idx="51">
                  <c:v>170.0200552</c:v>
                </c:pt>
                <c:pt idx="52">
                  <c:v>215.3563117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60.542504000000001</c:v>
                </c:pt>
                <c:pt idx="1">
                  <c:v>247.1809781</c:v>
                </c:pt>
                <c:pt idx="2">
                  <c:v>173.88481859999999</c:v>
                </c:pt>
                <c:pt idx="3">
                  <c:v>137.47521879999999</c:v>
                </c:pt>
                <c:pt idx="4">
                  <c:v>115.7280267</c:v>
                </c:pt>
                <c:pt idx="5">
                  <c:v>98.144389899999993</c:v>
                </c:pt>
                <c:pt idx="6">
                  <c:v>105.6483119</c:v>
                </c:pt>
                <c:pt idx="7">
                  <c:v>103.86179869999999</c:v>
                </c:pt>
                <c:pt idx="8">
                  <c:v>120.6880771</c:v>
                </c:pt>
                <c:pt idx="9">
                  <c:v>130.65242420000001</c:v>
                </c:pt>
                <c:pt idx="10">
                  <c:v>106.33235519999999</c:v>
                </c:pt>
                <c:pt idx="11">
                  <c:v>86.540143599999993</c:v>
                </c:pt>
                <c:pt idx="12">
                  <c:v>59.5293317</c:v>
                </c:pt>
                <c:pt idx="13">
                  <c:v>42.465271100000002</c:v>
                </c:pt>
                <c:pt idx="14">
                  <c:v>31.122505499999999</c:v>
                </c:pt>
                <c:pt idx="15">
                  <c:v>22.745540399999999</c:v>
                </c:pt>
                <c:pt idx="16">
                  <c:v>17.783065000000001</c:v>
                </c:pt>
                <c:pt idx="17">
                  <c:v>14.3744953</c:v>
                </c:pt>
                <c:pt idx="18">
                  <c:v>12.0668902</c:v>
                </c:pt>
                <c:pt idx="19">
                  <c:v>9.0164021999999999</c:v>
                </c:pt>
                <c:pt idx="20">
                  <c:v>5.3513301000000002</c:v>
                </c:pt>
                <c:pt idx="21">
                  <c:v>2.4475273</c:v>
                </c:pt>
                <c:pt idx="22">
                  <c:v>1.5303389000000001</c:v>
                </c:pt>
                <c:pt idx="23">
                  <c:v>1.2244565999999999</c:v>
                </c:pt>
                <c:pt idx="24">
                  <c:v>0.61230700000000005</c:v>
                </c:pt>
                <c:pt idx="25">
                  <c:v>1.2247716</c:v>
                </c:pt>
                <c:pt idx="26">
                  <c:v>0.76555139999999999</c:v>
                </c:pt>
                <c:pt idx="27">
                  <c:v>1.683481</c:v>
                </c:pt>
                <c:pt idx="28">
                  <c:v>2.1413308</c:v>
                </c:pt>
                <c:pt idx="29">
                  <c:v>2.5986532000000002</c:v>
                </c:pt>
                <c:pt idx="30">
                  <c:v>1.9860153</c:v>
                </c:pt>
                <c:pt idx="31">
                  <c:v>1.9862915000000001</c:v>
                </c:pt>
                <c:pt idx="32">
                  <c:v>2.7533080999999999</c:v>
                </c:pt>
                <c:pt idx="33">
                  <c:v>1.3781866</c:v>
                </c:pt>
                <c:pt idx="34">
                  <c:v>2.6061428000000002</c:v>
                </c:pt>
                <c:pt idx="35">
                  <c:v>2.3018879999999999</c:v>
                </c:pt>
                <c:pt idx="36">
                  <c:v>3.2240483000000002</c:v>
                </c:pt>
                <c:pt idx="37">
                  <c:v>3.8394495000000002</c:v>
                </c:pt>
                <c:pt idx="38">
                  <c:v>6.2988350999999998</c:v>
                </c:pt>
                <c:pt idx="39">
                  <c:v>7.2231681999999999</c:v>
                </c:pt>
                <c:pt idx="40">
                  <c:v>10.3033173</c:v>
                </c:pt>
                <c:pt idx="41">
                  <c:v>17.0814956</c:v>
                </c:pt>
                <c:pt idx="42">
                  <c:v>39.114593399999997</c:v>
                </c:pt>
                <c:pt idx="43">
                  <c:v>59.483082699999997</c:v>
                </c:pt>
                <c:pt idx="44">
                  <c:v>105.6267443</c:v>
                </c:pt>
                <c:pt idx="45">
                  <c:v>118.6409822</c:v>
                </c:pt>
                <c:pt idx="46">
                  <c:v>158.21807849999999</c:v>
                </c:pt>
                <c:pt idx="47">
                  <c:v>179.7663963</c:v>
                </c:pt>
                <c:pt idx="48">
                  <c:v>155.7562599</c:v>
                </c:pt>
                <c:pt idx="49">
                  <c:v>127.0691243</c:v>
                </c:pt>
                <c:pt idx="50">
                  <c:v>105.46549400000001</c:v>
                </c:pt>
                <c:pt idx="51">
                  <c:v>65.127532299999999</c:v>
                </c:pt>
                <c:pt idx="52">
                  <c:v>58.6514802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3.007002099999999</c:v>
                </c:pt>
                <c:pt idx="1">
                  <c:v>66.389835500000004</c:v>
                </c:pt>
                <c:pt idx="2">
                  <c:v>81.531040899999994</c:v>
                </c:pt>
                <c:pt idx="3">
                  <c:v>187.60086269999999</c:v>
                </c:pt>
                <c:pt idx="4">
                  <c:v>307.32138800000001</c:v>
                </c:pt>
                <c:pt idx="5">
                  <c:v>342.38944520000001</c:v>
                </c:pt>
                <c:pt idx="6">
                  <c:v>278.03769119999998</c:v>
                </c:pt>
                <c:pt idx="7">
                  <c:v>175.28456249999999</c:v>
                </c:pt>
                <c:pt idx="8">
                  <c:v>120.2087389</c:v>
                </c:pt>
                <c:pt idx="9">
                  <c:v>102.1890465</c:v>
                </c:pt>
                <c:pt idx="10">
                  <c:v>102.69523890000001</c:v>
                </c:pt>
                <c:pt idx="11">
                  <c:v>103.9792104</c:v>
                </c:pt>
                <c:pt idx="12">
                  <c:v>93.462796600000004</c:v>
                </c:pt>
                <c:pt idx="13">
                  <c:v>79.0065943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19</c:f>
              <c:numCache>
                <c:formatCode>m/d/yyyy</c:formatCode>
                <c:ptCount val="285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  <c:pt idx="271">
                  <c:v>44639</c:v>
                </c:pt>
                <c:pt idx="272">
                  <c:v>44640</c:v>
                </c:pt>
                <c:pt idx="273">
                  <c:v>44641</c:v>
                </c:pt>
                <c:pt idx="274">
                  <c:v>44642</c:v>
                </c:pt>
                <c:pt idx="275">
                  <c:v>44643</c:v>
                </c:pt>
                <c:pt idx="276">
                  <c:v>44644</c:v>
                </c:pt>
                <c:pt idx="277">
                  <c:v>44645</c:v>
                </c:pt>
                <c:pt idx="278">
                  <c:v>44646</c:v>
                </c:pt>
                <c:pt idx="279">
                  <c:v>44647</c:v>
                </c:pt>
                <c:pt idx="280">
                  <c:v>44648</c:v>
                </c:pt>
                <c:pt idx="281">
                  <c:v>44649</c:v>
                </c:pt>
                <c:pt idx="282">
                  <c:v>44650</c:v>
                </c:pt>
                <c:pt idx="283">
                  <c:v>44651</c:v>
                </c:pt>
                <c:pt idx="284">
                  <c:v>44652</c:v>
                </c:pt>
              </c:numCache>
            </c:numRef>
          </c:cat>
          <c:val>
            <c:numRef>
              <c:f>Sheet1!$B$135:$B$419</c:f>
              <c:numCache>
                <c:formatCode>General</c:formatCode>
                <c:ptCount val="285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6</c:v>
                </c:pt>
                <c:pt idx="18">
                  <c:v>6</c:v>
                </c:pt>
                <c:pt idx="19">
                  <c:v>1</c:v>
                </c:pt>
                <c:pt idx="20">
                  <c:v>1</c:v>
                </c:pt>
                <c:pt idx="21">
                  <c:v>7</c:v>
                </c:pt>
                <c:pt idx="22">
                  <c:v>4</c:v>
                </c:pt>
                <c:pt idx="23">
                  <c:v>7</c:v>
                </c:pt>
                <c:pt idx="24">
                  <c:v>5</c:v>
                </c:pt>
                <c:pt idx="25">
                  <c:v>8</c:v>
                </c:pt>
                <c:pt idx="26">
                  <c:v>3</c:v>
                </c:pt>
                <c:pt idx="27">
                  <c:v>4</c:v>
                </c:pt>
                <c:pt idx="28">
                  <c:v>11</c:v>
                </c:pt>
                <c:pt idx="29">
                  <c:v>8</c:v>
                </c:pt>
                <c:pt idx="30">
                  <c:v>7</c:v>
                </c:pt>
                <c:pt idx="31">
                  <c:v>7</c:v>
                </c:pt>
                <c:pt idx="32">
                  <c:v>6</c:v>
                </c:pt>
                <c:pt idx="33">
                  <c:v>1</c:v>
                </c:pt>
                <c:pt idx="34">
                  <c:v>4</c:v>
                </c:pt>
                <c:pt idx="35">
                  <c:v>9</c:v>
                </c:pt>
                <c:pt idx="36">
                  <c:v>4</c:v>
                </c:pt>
                <c:pt idx="37">
                  <c:v>2</c:v>
                </c:pt>
                <c:pt idx="38">
                  <c:v>8</c:v>
                </c:pt>
                <c:pt idx="39">
                  <c:v>5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6</c:v>
                </c:pt>
                <c:pt idx="44">
                  <c:v>11</c:v>
                </c:pt>
                <c:pt idx="45">
                  <c:v>3</c:v>
                </c:pt>
                <c:pt idx="46">
                  <c:v>7</c:v>
                </c:pt>
                <c:pt idx="47">
                  <c:v>1</c:v>
                </c:pt>
                <c:pt idx="48">
                  <c:v>3</c:v>
                </c:pt>
                <c:pt idx="49">
                  <c:v>12</c:v>
                </c:pt>
                <c:pt idx="50">
                  <c:v>3</c:v>
                </c:pt>
                <c:pt idx="51">
                  <c:v>7</c:v>
                </c:pt>
                <c:pt idx="52">
                  <c:v>4</c:v>
                </c:pt>
                <c:pt idx="53">
                  <c:v>10</c:v>
                </c:pt>
                <c:pt idx="54">
                  <c:v>5</c:v>
                </c:pt>
                <c:pt idx="55">
                  <c:v>2</c:v>
                </c:pt>
                <c:pt idx="56">
                  <c:v>7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2</c:v>
                </c:pt>
                <c:pt idx="62">
                  <c:v>3</c:v>
                </c:pt>
                <c:pt idx="63">
                  <c:v>8</c:v>
                </c:pt>
                <c:pt idx="64">
                  <c:v>5</c:v>
                </c:pt>
                <c:pt idx="65">
                  <c:v>6</c:v>
                </c:pt>
                <c:pt idx="66">
                  <c:v>5</c:v>
                </c:pt>
                <c:pt idx="67">
                  <c:v>4</c:v>
                </c:pt>
                <c:pt idx="68">
                  <c:v>3</c:v>
                </c:pt>
                <c:pt idx="69">
                  <c:v>2</c:v>
                </c:pt>
                <c:pt idx="70">
                  <c:v>1</c:v>
                </c:pt>
                <c:pt idx="71">
                  <c:v>7</c:v>
                </c:pt>
                <c:pt idx="72">
                  <c:v>7</c:v>
                </c:pt>
                <c:pt idx="73">
                  <c:v>12</c:v>
                </c:pt>
                <c:pt idx="74">
                  <c:v>13</c:v>
                </c:pt>
                <c:pt idx="75">
                  <c:v>9</c:v>
                </c:pt>
                <c:pt idx="76">
                  <c:v>3</c:v>
                </c:pt>
                <c:pt idx="77">
                  <c:v>7</c:v>
                </c:pt>
                <c:pt idx="78">
                  <c:v>12</c:v>
                </c:pt>
                <c:pt idx="79">
                  <c:v>2</c:v>
                </c:pt>
                <c:pt idx="80">
                  <c:v>7</c:v>
                </c:pt>
                <c:pt idx="81">
                  <c:v>5</c:v>
                </c:pt>
                <c:pt idx="82">
                  <c:v>4</c:v>
                </c:pt>
                <c:pt idx="83">
                  <c:v>5</c:v>
                </c:pt>
                <c:pt idx="84">
                  <c:v>9</c:v>
                </c:pt>
                <c:pt idx="85">
                  <c:v>10</c:v>
                </c:pt>
                <c:pt idx="86">
                  <c:v>8</c:v>
                </c:pt>
                <c:pt idx="87">
                  <c:v>17</c:v>
                </c:pt>
                <c:pt idx="88">
                  <c:v>11</c:v>
                </c:pt>
                <c:pt idx="89">
                  <c:v>5</c:v>
                </c:pt>
                <c:pt idx="90">
                  <c:v>9</c:v>
                </c:pt>
                <c:pt idx="91">
                  <c:v>17</c:v>
                </c:pt>
                <c:pt idx="92">
                  <c:v>19</c:v>
                </c:pt>
                <c:pt idx="93">
                  <c:v>16</c:v>
                </c:pt>
                <c:pt idx="94">
                  <c:v>14</c:v>
                </c:pt>
                <c:pt idx="95">
                  <c:v>15</c:v>
                </c:pt>
                <c:pt idx="96">
                  <c:v>10</c:v>
                </c:pt>
                <c:pt idx="97">
                  <c:v>10</c:v>
                </c:pt>
                <c:pt idx="98">
                  <c:v>18</c:v>
                </c:pt>
                <c:pt idx="99">
                  <c:v>19</c:v>
                </c:pt>
                <c:pt idx="100">
                  <c:v>24</c:v>
                </c:pt>
                <c:pt idx="101">
                  <c:v>37</c:v>
                </c:pt>
                <c:pt idx="102">
                  <c:v>21</c:v>
                </c:pt>
                <c:pt idx="103">
                  <c:v>14</c:v>
                </c:pt>
                <c:pt idx="104">
                  <c:v>15</c:v>
                </c:pt>
                <c:pt idx="105">
                  <c:v>20</c:v>
                </c:pt>
                <c:pt idx="106">
                  <c:v>29</c:v>
                </c:pt>
                <c:pt idx="107">
                  <c:v>26</c:v>
                </c:pt>
                <c:pt idx="108">
                  <c:v>29</c:v>
                </c:pt>
                <c:pt idx="109">
                  <c:v>26</c:v>
                </c:pt>
                <c:pt idx="110">
                  <c:v>14</c:v>
                </c:pt>
                <c:pt idx="111">
                  <c:v>10</c:v>
                </c:pt>
                <c:pt idx="112">
                  <c:v>40</c:v>
                </c:pt>
                <c:pt idx="113">
                  <c:v>60</c:v>
                </c:pt>
                <c:pt idx="114">
                  <c:v>48</c:v>
                </c:pt>
                <c:pt idx="115">
                  <c:v>47</c:v>
                </c:pt>
                <c:pt idx="116">
                  <c:v>37</c:v>
                </c:pt>
                <c:pt idx="117">
                  <c:v>24</c:v>
                </c:pt>
                <c:pt idx="118">
                  <c:v>30</c:v>
                </c:pt>
                <c:pt idx="119">
                  <c:v>91</c:v>
                </c:pt>
                <c:pt idx="120">
                  <c:v>101</c:v>
                </c:pt>
                <c:pt idx="121">
                  <c:v>88</c:v>
                </c:pt>
                <c:pt idx="122">
                  <c:v>120</c:v>
                </c:pt>
                <c:pt idx="123">
                  <c:v>106</c:v>
                </c:pt>
                <c:pt idx="124">
                  <c:v>77</c:v>
                </c:pt>
                <c:pt idx="125">
                  <c:v>46</c:v>
                </c:pt>
                <c:pt idx="126">
                  <c:v>174</c:v>
                </c:pt>
                <c:pt idx="127">
                  <c:v>176</c:v>
                </c:pt>
                <c:pt idx="128">
                  <c:v>164</c:v>
                </c:pt>
                <c:pt idx="129">
                  <c:v>98</c:v>
                </c:pt>
                <c:pt idx="130">
                  <c:v>202</c:v>
                </c:pt>
                <c:pt idx="131">
                  <c:v>139</c:v>
                </c:pt>
                <c:pt idx="132">
                  <c:v>97</c:v>
                </c:pt>
                <c:pt idx="133">
                  <c:v>303</c:v>
                </c:pt>
                <c:pt idx="134">
                  <c:v>270</c:v>
                </c:pt>
                <c:pt idx="135">
                  <c:v>263</c:v>
                </c:pt>
                <c:pt idx="136">
                  <c:v>244</c:v>
                </c:pt>
                <c:pt idx="137">
                  <c:v>283</c:v>
                </c:pt>
                <c:pt idx="138">
                  <c:v>160</c:v>
                </c:pt>
                <c:pt idx="139">
                  <c:v>86</c:v>
                </c:pt>
                <c:pt idx="140">
                  <c:v>317</c:v>
                </c:pt>
                <c:pt idx="141">
                  <c:v>339</c:v>
                </c:pt>
                <c:pt idx="142">
                  <c:v>363</c:v>
                </c:pt>
                <c:pt idx="143">
                  <c:v>267</c:v>
                </c:pt>
                <c:pt idx="144">
                  <c:v>377</c:v>
                </c:pt>
                <c:pt idx="145">
                  <c:v>240</c:v>
                </c:pt>
                <c:pt idx="146">
                  <c:v>130</c:v>
                </c:pt>
                <c:pt idx="147">
                  <c:v>388</c:v>
                </c:pt>
                <c:pt idx="148">
                  <c:v>487</c:v>
                </c:pt>
                <c:pt idx="149">
                  <c:v>308</c:v>
                </c:pt>
                <c:pt idx="150">
                  <c:v>390</c:v>
                </c:pt>
                <c:pt idx="151">
                  <c:v>577</c:v>
                </c:pt>
                <c:pt idx="152">
                  <c:v>330</c:v>
                </c:pt>
                <c:pt idx="153">
                  <c:v>205</c:v>
                </c:pt>
                <c:pt idx="154">
                  <c:v>457</c:v>
                </c:pt>
                <c:pt idx="155">
                  <c:v>546</c:v>
                </c:pt>
                <c:pt idx="156">
                  <c:v>367</c:v>
                </c:pt>
                <c:pt idx="157">
                  <c:v>550</c:v>
                </c:pt>
                <c:pt idx="158">
                  <c:v>396</c:v>
                </c:pt>
                <c:pt idx="159">
                  <c:v>260</c:v>
                </c:pt>
                <c:pt idx="160">
                  <c:v>203</c:v>
                </c:pt>
                <c:pt idx="161">
                  <c:v>477</c:v>
                </c:pt>
                <c:pt idx="162">
                  <c:v>416</c:v>
                </c:pt>
                <c:pt idx="163">
                  <c:v>407</c:v>
                </c:pt>
                <c:pt idx="164">
                  <c:v>329</c:v>
                </c:pt>
                <c:pt idx="165">
                  <c:v>358</c:v>
                </c:pt>
                <c:pt idx="166">
                  <c:v>210</c:v>
                </c:pt>
                <c:pt idx="167">
                  <c:v>149</c:v>
                </c:pt>
                <c:pt idx="168">
                  <c:v>413</c:v>
                </c:pt>
                <c:pt idx="169">
                  <c:v>365</c:v>
                </c:pt>
                <c:pt idx="170">
                  <c:v>291</c:v>
                </c:pt>
                <c:pt idx="171">
                  <c:v>275</c:v>
                </c:pt>
                <c:pt idx="172">
                  <c:v>246</c:v>
                </c:pt>
                <c:pt idx="173">
                  <c:v>173</c:v>
                </c:pt>
                <c:pt idx="174">
                  <c:v>134</c:v>
                </c:pt>
                <c:pt idx="175">
                  <c:v>255</c:v>
                </c:pt>
                <c:pt idx="176">
                  <c:v>325</c:v>
                </c:pt>
                <c:pt idx="177">
                  <c:v>209</c:v>
                </c:pt>
                <c:pt idx="178">
                  <c:v>173</c:v>
                </c:pt>
                <c:pt idx="179">
                  <c:v>203</c:v>
                </c:pt>
                <c:pt idx="180">
                  <c:v>130</c:v>
                </c:pt>
                <c:pt idx="181">
                  <c:v>92</c:v>
                </c:pt>
                <c:pt idx="182">
                  <c:v>224</c:v>
                </c:pt>
                <c:pt idx="183">
                  <c:v>213</c:v>
                </c:pt>
                <c:pt idx="184">
                  <c:v>119</c:v>
                </c:pt>
                <c:pt idx="185">
                  <c:v>162</c:v>
                </c:pt>
                <c:pt idx="186">
                  <c:v>48</c:v>
                </c:pt>
                <c:pt idx="187">
                  <c:v>44</c:v>
                </c:pt>
                <c:pt idx="188">
                  <c:v>49</c:v>
                </c:pt>
                <c:pt idx="189">
                  <c:v>172</c:v>
                </c:pt>
                <c:pt idx="190">
                  <c:v>221</c:v>
                </c:pt>
                <c:pt idx="191">
                  <c:v>150</c:v>
                </c:pt>
                <c:pt idx="192">
                  <c:v>139</c:v>
                </c:pt>
                <c:pt idx="193">
                  <c:v>151</c:v>
                </c:pt>
                <c:pt idx="194">
                  <c:v>33</c:v>
                </c:pt>
                <c:pt idx="195">
                  <c:v>90</c:v>
                </c:pt>
                <c:pt idx="196">
                  <c:v>242</c:v>
                </c:pt>
                <c:pt idx="197">
                  <c:v>209</c:v>
                </c:pt>
                <c:pt idx="198">
                  <c:v>163</c:v>
                </c:pt>
                <c:pt idx="199">
                  <c:v>163</c:v>
                </c:pt>
                <c:pt idx="200">
                  <c:v>165</c:v>
                </c:pt>
                <c:pt idx="201">
                  <c:v>90</c:v>
                </c:pt>
                <c:pt idx="202">
                  <c:v>75</c:v>
                </c:pt>
                <c:pt idx="203">
                  <c:v>193</c:v>
                </c:pt>
                <c:pt idx="204">
                  <c:v>274</c:v>
                </c:pt>
                <c:pt idx="205">
                  <c:v>310</c:v>
                </c:pt>
                <c:pt idx="206">
                  <c:v>239</c:v>
                </c:pt>
                <c:pt idx="207">
                  <c:v>283</c:v>
                </c:pt>
                <c:pt idx="208">
                  <c:v>212</c:v>
                </c:pt>
                <c:pt idx="209">
                  <c:v>187</c:v>
                </c:pt>
                <c:pt idx="210">
                  <c:v>584</c:v>
                </c:pt>
                <c:pt idx="211">
                  <c:v>626</c:v>
                </c:pt>
                <c:pt idx="212">
                  <c:v>741</c:v>
                </c:pt>
                <c:pt idx="213">
                  <c:v>713</c:v>
                </c:pt>
                <c:pt idx="214">
                  <c:v>680</c:v>
                </c:pt>
                <c:pt idx="215">
                  <c:v>415</c:v>
                </c:pt>
                <c:pt idx="216">
                  <c:v>443</c:v>
                </c:pt>
                <c:pt idx="217">
                  <c:v>990</c:v>
                </c:pt>
                <c:pt idx="218">
                  <c:v>914</c:v>
                </c:pt>
                <c:pt idx="219">
                  <c:v>1076</c:v>
                </c:pt>
                <c:pt idx="220">
                  <c:v>1662</c:v>
                </c:pt>
                <c:pt idx="221">
                  <c:v>1343</c:v>
                </c:pt>
                <c:pt idx="222">
                  <c:v>512</c:v>
                </c:pt>
                <c:pt idx="223">
                  <c:v>687</c:v>
                </c:pt>
                <c:pt idx="224">
                  <c:v>1365</c:v>
                </c:pt>
                <c:pt idx="225">
                  <c:v>1606</c:v>
                </c:pt>
                <c:pt idx="226">
                  <c:v>1262</c:v>
                </c:pt>
                <c:pt idx="227">
                  <c:v>1176</c:v>
                </c:pt>
                <c:pt idx="228">
                  <c:v>969</c:v>
                </c:pt>
                <c:pt idx="229">
                  <c:v>699</c:v>
                </c:pt>
                <c:pt idx="230">
                  <c:v>387</c:v>
                </c:pt>
                <c:pt idx="231">
                  <c:v>1362</c:v>
                </c:pt>
                <c:pt idx="232">
                  <c:v>1169</c:v>
                </c:pt>
                <c:pt idx="233">
                  <c:v>961</c:v>
                </c:pt>
                <c:pt idx="234">
                  <c:v>844</c:v>
                </c:pt>
                <c:pt idx="235">
                  <c:v>772</c:v>
                </c:pt>
                <c:pt idx="236">
                  <c:v>411</c:v>
                </c:pt>
                <c:pt idx="237">
                  <c:v>322</c:v>
                </c:pt>
                <c:pt idx="238">
                  <c:v>902</c:v>
                </c:pt>
                <c:pt idx="239">
                  <c:v>890</c:v>
                </c:pt>
                <c:pt idx="240">
                  <c:v>655</c:v>
                </c:pt>
                <c:pt idx="241">
                  <c:v>581</c:v>
                </c:pt>
                <c:pt idx="242">
                  <c:v>512</c:v>
                </c:pt>
                <c:pt idx="243">
                  <c:v>283</c:v>
                </c:pt>
                <c:pt idx="244">
                  <c:v>206</c:v>
                </c:pt>
                <c:pt idx="245">
                  <c:v>647</c:v>
                </c:pt>
                <c:pt idx="246">
                  <c:v>518</c:v>
                </c:pt>
                <c:pt idx="247">
                  <c:v>399</c:v>
                </c:pt>
                <c:pt idx="248">
                  <c:v>395</c:v>
                </c:pt>
                <c:pt idx="249">
                  <c:v>341</c:v>
                </c:pt>
                <c:pt idx="250">
                  <c:v>217</c:v>
                </c:pt>
                <c:pt idx="251">
                  <c:v>162</c:v>
                </c:pt>
                <c:pt idx="252">
                  <c:v>530</c:v>
                </c:pt>
                <c:pt idx="253">
                  <c:v>451</c:v>
                </c:pt>
                <c:pt idx="254">
                  <c:v>369</c:v>
                </c:pt>
                <c:pt idx="255">
                  <c:v>324</c:v>
                </c:pt>
                <c:pt idx="256">
                  <c:v>325</c:v>
                </c:pt>
                <c:pt idx="257">
                  <c:v>206</c:v>
                </c:pt>
                <c:pt idx="258">
                  <c:v>139</c:v>
                </c:pt>
                <c:pt idx="259">
                  <c:v>531</c:v>
                </c:pt>
                <c:pt idx="260">
                  <c:v>408</c:v>
                </c:pt>
                <c:pt idx="261">
                  <c:v>410</c:v>
                </c:pt>
                <c:pt idx="262">
                  <c:v>334</c:v>
                </c:pt>
                <c:pt idx="263">
                  <c:v>318</c:v>
                </c:pt>
                <c:pt idx="264">
                  <c:v>169</c:v>
                </c:pt>
                <c:pt idx="265">
                  <c:v>126</c:v>
                </c:pt>
                <c:pt idx="266">
                  <c:v>536</c:v>
                </c:pt>
                <c:pt idx="267">
                  <c:v>403</c:v>
                </c:pt>
                <c:pt idx="268">
                  <c:v>361</c:v>
                </c:pt>
                <c:pt idx="269">
                  <c:v>336</c:v>
                </c:pt>
                <c:pt idx="270">
                  <c:v>356</c:v>
                </c:pt>
                <c:pt idx="271">
                  <c:v>164</c:v>
                </c:pt>
                <c:pt idx="272">
                  <c:v>108</c:v>
                </c:pt>
                <c:pt idx="273">
                  <c:v>537</c:v>
                </c:pt>
                <c:pt idx="274">
                  <c:v>414</c:v>
                </c:pt>
                <c:pt idx="275">
                  <c:v>350</c:v>
                </c:pt>
                <c:pt idx="276">
                  <c:v>319</c:v>
                </c:pt>
                <c:pt idx="277">
                  <c:v>283</c:v>
                </c:pt>
                <c:pt idx="278">
                  <c:v>131</c:v>
                </c:pt>
                <c:pt idx="279">
                  <c:v>122</c:v>
                </c:pt>
                <c:pt idx="280">
                  <c:v>449</c:v>
                </c:pt>
                <c:pt idx="281">
                  <c:v>365</c:v>
                </c:pt>
                <c:pt idx="282">
                  <c:v>284</c:v>
                </c:pt>
                <c:pt idx="283">
                  <c:v>244</c:v>
                </c:pt>
                <c:pt idx="284">
                  <c:v>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  <c:pt idx="101">
                  <c:v>44571</c:v>
                </c:pt>
                <c:pt idx="102">
                  <c:v>44572</c:v>
                </c:pt>
                <c:pt idx="103">
                  <c:v>44573</c:v>
                </c:pt>
                <c:pt idx="104">
                  <c:v>44574</c:v>
                </c:pt>
                <c:pt idx="105">
                  <c:v>44575</c:v>
                </c:pt>
                <c:pt idx="106">
                  <c:v>44576</c:v>
                </c:pt>
                <c:pt idx="107">
                  <c:v>44577</c:v>
                </c:pt>
                <c:pt idx="108">
                  <c:v>44578</c:v>
                </c:pt>
                <c:pt idx="109">
                  <c:v>44579</c:v>
                </c:pt>
                <c:pt idx="110">
                  <c:v>44580</c:v>
                </c:pt>
                <c:pt idx="111">
                  <c:v>44581</c:v>
                </c:pt>
                <c:pt idx="112">
                  <c:v>44582</c:v>
                </c:pt>
                <c:pt idx="113">
                  <c:v>44583</c:v>
                </c:pt>
                <c:pt idx="114">
                  <c:v>44584</c:v>
                </c:pt>
                <c:pt idx="115">
                  <c:v>44585</c:v>
                </c:pt>
                <c:pt idx="116">
                  <c:v>44586</c:v>
                </c:pt>
                <c:pt idx="117">
                  <c:v>44587</c:v>
                </c:pt>
                <c:pt idx="118">
                  <c:v>44588</c:v>
                </c:pt>
                <c:pt idx="119">
                  <c:v>44589</c:v>
                </c:pt>
                <c:pt idx="120">
                  <c:v>44590</c:v>
                </c:pt>
                <c:pt idx="121">
                  <c:v>44591</c:v>
                </c:pt>
                <c:pt idx="122">
                  <c:v>44592</c:v>
                </c:pt>
                <c:pt idx="123">
                  <c:v>44593</c:v>
                </c:pt>
                <c:pt idx="124">
                  <c:v>44594</c:v>
                </c:pt>
                <c:pt idx="125">
                  <c:v>44595</c:v>
                </c:pt>
                <c:pt idx="126">
                  <c:v>44596</c:v>
                </c:pt>
                <c:pt idx="127">
                  <c:v>44597</c:v>
                </c:pt>
                <c:pt idx="128">
                  <c:v>44598</c:v>
                </c:pt>
                <c:pt idx="129">
                  <c:v>44599</c:v>
                </c:pt>
                <c:pt idx="130">
                  <c:v>44600</c:v>
                </c:pt>
                <c:pt idx="131">
                  <c:v>44601</c:v>
                </c:pt>
                <c:pt idx="132">
                  <c:v>44602</c:v>
                </c:pt>
                <c:pt idx="133">
                  <c:v>44603</c:v>
                </c:pt>
                <c:pt idx="134">
                  <c:v>44604</c:v>
                </c:pt>
                <c:pt idx="135">
                  <c:v>44605</c:v>
                </c:pt>
                <c:pt idx="136">
                  <c:v>44606</c:v>
                </c:pt>
                <c:pt idx="137">
                  <c:v>44607</c:v>
                </c:pt>
                <c:pt idx="138">
                  <c:v>44608</c:v>
                </c:pt>
                <c:pt idx="139">
                  <c:v>44609</c:v>
                </c:pt>
                <c:pt idx="140">
                  <c:v>44610</c:v>
                </c:pt>
                <c:pt idx="141">
                  <c:v>44611</c:v>
                </c:pt>
                <c:pt idx="142">
                  <c:v>44612</c:v>
                </c:pt>
                <c:pt idx="143">
                  <c:v>44613</c:v>
                </c:pt>
                <c:pt idx="144">
                  <c:v>44614</c:v>
                </c:pt>
                <c:pt idx="145">
                  <c:v>44615</c:v>
                </c:pt>
                <c:pt idx="146">
                  <c:v>44616</c:v>
                </c:pt>
                <c:pt idx="147">
                  <c:v>44617</c:v>
                </c:pt>
                <c:pt idx="148">
                  <c:v>44618</c:v>
                </c:pt>
                <c:pt idx="149">
                  <c:v>44619</c:v>
                </c:pt>
                <c:pt idx="150">
                  <c:v>44620</c:v>
                </c:pt>
                <c:pt idx="151">
                  <c:v>44621</c:v>
                </c:pt>
                <c:pt idx="152">
                  <c:v>44622</c:v>
                </c:pt>
                <c:pt idx="153">
                  <c:v>44623</c:v>
                </c:pt>
                <c:pt idx="154">
                  <c:v>44624</c:v>
                </c:pt>
                <c:pt idx="155">
                  <c:v>44625</c:v>
                </c:pt>
                <c:pt idx="156">
                  <c:v>44626</c:v>
                </c:pt>
                <c:pt idx="157">
                  <c:v>44627</c:v>
                </c:pt>
                <c:pt idx="158">
                  <c:v>44628</c:v>
                </c:pt>
                <c:pt idx="159">
                  <c:v>44629</c:v>
                </c:pt>
                <c:pt idx="160">
                  <c:v>44630</c:v>
                </c:pt>
                <c:pt idx="161">
                  <c:v>44631</c:v>
                </c:pt>
                <c:pt idx="162">
                  <c:v>44632</c:v>
                </c:pt>
                <c:pt idx="163">
                  <c:v>44633</c:v>
                </c:pt>
                <c:pt idx="164">
                  <c:v>44634</c:v>
                </c:pt>
                <c:pt idx="165">
                  <c:v>44635</c:v>
                </c:pt>
                <c:pt idx="166">
                  <c:v>44636</c:v>
                </c:pt>
                <c:pt idx="167">
                  <c:v>44637</c:v>
                </c:pt>
                <c:pt idx="168">
                  <c:v>44638</c:v>
                </c:pt>
                <c:pt idx="169">
                  <c:v>44639</c:v>
                </c:pt>
                <c:pt idx="170">
                  <c:v>44640</c:v>
                </c:pt>
                <c:pt idx="171">
                  <c:v>44641</c:v>
                </c:pt>
                <c:pt idx="172">
                  <c:v>44642</c:v>
                </c:pt>
                <c:pt idx="173">
                  <c:v>44643</c:v>
                </c:pt>
                <c:pt idx="174">
                  <c:v>44644</c:v>
                </c:pt>
                <c:pt idx="175">
                  <c:v>44645</c:v>
                </c:pt>
                <c:pt idx="176">
                  <c:v>44646</c:v>
                </c:pt>
                <c:pt idx="177">
                  <c:v>44647</c:v>
                </c:pt>
                <c:pt idx="178">
                  <c:v>44648</c:v>
                </c:pt>
                <c:pt idx="179">
                  <c:v>44649</c:v>
                </c:pt>
                <c:pt idx="180">
                  <c:v>44650</c:v>
                </c:pt>
                <c:pt idx="181">
                  <c:v>44651</c:v>
                </c:pt>
                <c:pt idx="182">
                  <c:v>44652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5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1</c:v>
                </c:pt>
                <c:pt idx="9">
                  <c:v>0</c:v>
                </c:pt>
                <c:pt idx="10">
                  <c:v>2</c:v>
                </c:pt>
                <c:pt idx="11">
                  <c:v>3</c:v>
                </c:pt>
                <c:pt idx="12">
                  <c:v>1</c:v>
                </c:pt>
                <c:pt idx="13">
                  <c:v>3</c:v>
                </c:pt>
                <c:pt idx="14">
                  <c:v>7</c:v>
                </c:pt>
                <c:pt idx="15">
                  <c:v>2</c:v>
                </c:pt>
                <c:pt idx="16">
                  <c:v>1</c:v>
                </c:pt>
                <c:pt idx="17">
                  <c:v>12</c:v>
                </c:pt>
                <c:pt idx="18">
                  <c:v>8</c:v>
                </c:pt>
                <c:pt idx="19">
                  <c:v>11</c:v>
                </c:pt>
                <c:pt idx="20">
                  <c:v>7</c:v>
                </c:pt>
                <c:pt idx="21">
                  <c:v>12</c:v>
                </c:pt>
                <c:pt idx="22">
                  <c:v>0</c:v>
                </c:pt>
                <c:pt idx="23">
                  <c:v>4</c:v>
                </c:pt>
                <c:pt idx="24">
                  <c:v>20</c:v>
                </c:pt>
                <c:pt idx="25">
                  <c:v>6</c:v>
                </c:pt>
                <c:pt idx="26">
                  <c:v>18</c:v>
                </c:pt>
                <c:pt idx="27">
                  <c:v>3</c:v>
                </c:pt>
                <c:pt idx="28">
                  <c:v>8</c:v>
                </c:pt>
                <c:pt idx="29">
                  <c:v>5</c:v>
                </c:pt>
                <c:pt idx="30">
                  <c:v>4</c:v>
                </c:pt>
                <c:pt idx="31">
                  <c:v>41</c:v>
                </c:pt>
                <c:pt idx="32">
                  <c:v>26</c:v>
                </c:pt>
                <c:pt idx="33">
                  <c:v>21</c:v>
                </c:pt>
                <c:pt idx="34">
                  <c:v>25</c:v>
                </c:pt>
                <c:pt idx="35">
                  <c:v>27</c:v>
                </c:pt>
                <c:pt idx="36">
                  <c:v>13</c:v>
                </c:pt>
                <c:pt idx="37">
                  <c:v>5</c:v>
                </c:pt>
                <c:pt idx="38">
                  <c:v>55</c:v>
                </c:pt>
                <c:pt idx="39">
                  <c:v>29</c:v>
                </c:pt>
                <c:pt idx="40">
                  <c:v>31</c:v>
                </c:pt>
                <c:pt idx="41">
                  <c:v>38</c:v>
                </c:pt>
                <c:pt idx="42">
                  <c:v>35</c:v>
                </c:pt>
                <c:pt idx="43">
                  <c:v>20</c:v>
                </c:pt>
                <c:pt idx="44">
                  <c:v>14</c:v>
                </c:pt>
                <c:pt idx="45">
                  <c:v>59</c:v>
                </c:pt>
                <c:pt idx="46">
                  <c:v>35</c:v>
                </c:pt>
                <c:pt idx="47">
                  <c:v>15</c:v>
                </c:pt>
                <c:pt idx="48">
                  <c:v>43</c:v>
                </c:pt>
                <c:pt idx="49">
                  <c:v>53</c:v>
                </c:pt>
                <c:pt idx="50">
                  <c:v>13</c:v>
                </c:pt>
                <c:pt idx="51">
                  <c:v>7</c:v>
                </c:pt>
                <c:pt idx="52">
                  <c:v>75</c:v>
                </c:pt>
                <c:pt idx="53">
                  <c:v>44</c:v>
                </c:pt>
                <c:pt idx="54">
                  <c:v>49</c:v>
                </c:pt>
                <c:pt idx="55">
                  <c:v>49</c:v>
                </c:pt>
                <c:pt idx="56">
                  <c:v>51</c:v>
                </c:pt>
                <c:pt idx="57">
                  <c:v>22</c:v>
                </c:pt>
                <c:pt idx="58">
                  <c:v>7</c:v>
                </c:pt>
                <c:pt idx="59">
                  <c:v>44</c:v>
                </c:pt>
                <c:pt idx="60">
                  <c:v>49</c:v>
                </c:pt>
                <c:pt idx="61">
                  <c:v>43</c:v>
                </c:pt>
                <c:pt idx="62">
                  <c:v>33</c:v>
                </c:pt>
                <c:pt idx="63">
                  <c:v>30</c:v>
                </c:pt>
                <c:pt idx="64">
                  <c:v>21</c:v>
                </c:pt>
                <c:pt idx="65">
                  <c:v>10</c:v>
                </c:pt>
                <c:pt idx="66">
                  <c:v>50</c:v>
                </c:pt>
                <c:pt idx="67">
                  <c:v>37</c:v>
                </c:pt>
                <c:pt idx="68">
                  <c:v>35</c:v>
                </c:pt>
                <c:pt idx="69">
                  <c:v>26</c:v>
                </c:pt>
                <c:pt idx="70">
                  <c:v>20</c:v>
                </c:pt>
                <c:pt idx="71">
                  <c:v>13</c:v>
                </c:pt>
                <c:pt idx="72">
                  <c:v>9</c:v>
                </c:pt>
                <c:pt idx="73">
                  <c:v>35</c:v>
                </c:pt>
                <c:pt idx="74">
                  <c:v>37</c:v>
                </c:pt>
                <c:pt idx="75">
                  <c:v>27</c:v>
                </c:pt>
                <c:pt idx="76">
                  <c:v>18</c:v>
                </c:pt>
                <c:pt idx="77">
                  <c:v>16</c:v>
                </c:pt>
                <c:pt idx="78">
                  <c:v>8</c:v>
                </c:pt>
                <c:pt idx="79">
                  <c:v>10</c:v>
                </c:pt>
                <c:pt idx="80">
                  <c:v>28</c:v>
                </c:pt>
                <c:pt idx="81">
                  <c:v>13</c:v>
                </c:pt>
                <c:pt idx="82">
                  <c:v>10</c:v>
                </c:pt>
                <c:pt idx="83">
                  <c:v>4</c:v>
                </c:pt>
                <c:pt idx="84">
                  <c:v>7</c:v>
                </c:pt>
                <c:pt idx="85">
                  <c:v>3</c:v>
                </c:pt>
                <c:pt idx="86">
                  <c:v>5</c:v>
                </c:pt>
                <c:pt idx="87">
                  <c:v>10</c:v>
                </c:pt>
                <c:pt idx="88">
                  <c:v>17</c:v>
                </c:pt>
                <c:pt idx="89">
                  <c:v>10</c:v>
                </c:pt>
                <c:pt idx="90">
                  <c:v>10</c:v>
                </c:pt>
                <c:pt idx="91">
                  <c:v>6</c:v>
                </c:pt>
                <c:pt idx="92">
                  <c:v>1</c:v>
                </c:pt>
                <c:pt idx="93">
                  <c:v>4</c:v>
                </c:pt>
                <c:pt idx="94">
                  <c:v>21</c:v>
                </c:pt>
                <c:pt idx="95">
                  <c:v>14</c:v>
                </c:pt>
                <c:pt idx="96">
                  <c:v>5</c:v>
                </c:pt>
                <c:pt idx="97">
                  <c:v>9</c:v>
                </c:pt>
                <c:pt idx="98">
                  <c:v>11</c:v>
                </c:pt>
                <c:pt idx="99">
                  <c:v>3</c:v>
                </c:pt>
                <c:pt idx="100">
                  <c:v>3</c:v>
                </c:pt>
                <c:pt idx="101">
                  <c:v>18</c:v>
                </c:pt>
                <c:pt idx="102">
                  <c:v>11</c:v>
                </c:pt>
                <c:pt idx="103">
                  <c:v>9</c:v>
                </c:pt>
                <c:pt idx="104">
                  <c:v>13</c:v>
                </c:pt>
                <c:pt idx="105">
                  <c:v>13</c:v>
                </c:pt>
                <c:pt idx="106">
                  <c:v>6</c:v>
                </c:pt>
                <c:pt idx="107">
                  <c:v>11</c:v>
                </c:pt>
                <c:pt idx="108">
                  <c:v>47</c:v>
                </c:pt>
                <c:pt idx="109">
                  <c:v>36</c:v>
                </c:pt>
                <c:pt idx="110">
                  <c:v>45</c:v>
                </c:pt>
                <c:pt idx="111">
                  <c:v>48</c:v>
                </c:pt>
                <c:pt idx="112">
                  <c:v>69</c:v>
                </c:pt>
                <c:pt idx="113">
                  <c:v>20</c:v>
                </c:pt>
                <c:pt idx="114">
                  <c:v>16</c:v>
                </c:pt>
                <c:pt idx="115">
                  <c:v>99</c:v>
                </c:pt>
                <c:pt idx="116">
                  <c:v>105</c:v>
                </c:pt>
                <c:pt idx="117">
                  <c:v>101</c:v>
                </c:pt>
                <c:pt idx="118">
                  <c:v>60</c:v>
                </c:pt>
                <c:pt idx="119">
                  <c:v>72</c:v>
                </c:pt>
                <c:pt idx="120">
                  <c:v>30</c:v>
                </c:pt>
                <c:pt idx="121">
                  <c:v>32</c:v>
                </c:pt>
                <c:pt idx="122">
                  <c:v>117</c:v>
                </c:pt>
                <c:pt idx="123">
                  <c:v>118</c:v>
                </c:pt>
                <c:pt idx="124">
                  <c:v>83</c:v>
                </c:pt>
                <c:pt idx="125">
                  <c:v>71</c:v>
                </c:pt>
                <c:pt idx="126">
                  <c:v>84</c:v>
                </c:pt>
                <c:pt idx="127">
                  <c:v>32</c:v>
                </c:pt>
                <c:pt idx="128">
                  <c:v>25</c:v>
                </c:pt>
                <c:pt idx="129">
                  <c:v>133</c:v>
                </c:pt>
                <c:pt idx="130">
                  <c:v>91</c:v>
                </c:pt>
                <c:pt idx="131">
                  <c:v>65</c:v>
                </c:pt>
                <c:pt idx="132">
                  <c:v>70</c:v>
                </c:pt>
                <c:pt idx="133">
                  <c:v>51</c:v>
                </c:pt>
                <c:pt idx="134">
                  <c:v>22</c:v>
                </c:pt>
                <c:pt idx="135">
                  <c:v>27</c:v>
                </c:pt>
                <c:pt idx="136">
                  <c:v>91</c:v>
                </c:pt>
                <c:pt idx="137">
                  <c:v>75</c:v>
                </c:pt>
                <c:pt idx="138">
                  <c:v>69</c:v>
                </c:pt>
                <c:pt idx="139">
                  <c:v>41</c:v>
                </c:pt>
                <c:pt idx="140">
                  <c:v>30</c:v>
                </c:pt>
                <c:pt idx="141">
                  <c:v>24</c:v>
                </c:pt>
                <c:pt idx="142">
                  <c:v>11</c:v>
                </c:pt>
                <c:pt idx="143">
                  <c:v>67</c:v>
                </c:pt>
                <c:pt idx="144">
                  <c:v>39</c:v>
                </c:pt>
                <c:pt idx="145">
                  <c:v>40</c:v>
                </c:pt>
                <c:pt idx="146">
                  <c:v>34</c:v>
                </c:pt>
                <c:pt idx="147">
                  <c:v>26</c:v>
                </c:pt>
                <c:pt idx="148">
                  <c:v>11</c:v>
                </c:pt>
                <c:pt idx="149">
                  <c:v>12</c:v>
                </c:pt>
                <c:pt idx="150">
                  <c:v>44</c:v>
                </c:pt>
                <c:pt idx="151">
                  <c:v>32</c:v>
                </c:pt>
                <c:pt idx="152">
                  <c:v>25</c:v>
                </c:pt>
                <c:pt idx="153">
                  <c:v>21</c:v>
                </c:pt>
                <c:pt idx="154">
                  <c:v>16</c:v>
                </c:pt>
                <c:pt idx="155">
                  <c:v>12</c:v>
                </c:pt>
                <c:pt idx="156">
                  <c:v>5</c:v>
                </c:pt>
                <c:pt idx="157">
                  <c:v>46</c:v>
                </c:pt>
                <c:pt idx="158">
                  <c:v>30</c:v>
                </c:pt>
                <c:pt idx="159">
                  <c:v>30</c:v>
                </c:pt>
                <c:pt idx="160" formatCode="General">
                  <c:v>16</c:v>
                </c:pt>
                <c:pt idx="161" formatCode="General">
                  <c:v>30</c:v>
                </c:pt>
                <c:pt idx="162" formatCode="General">
                  <c:v>6</c:v>
                </c:pt>
                <c:pt idx="163" formatCode="General">
                  <c:v>9</c:v>
                </c:pt>
                <c:pt idx="164" formatCode="General">
                  <c:v>42</c:v>
                </c:pt>
                <c:pt idx="165" formatCode="General">
                  <c:v>28</c:v>
                </c:pt>
                <c:pt idx="166" formatCode="General">
                  <c:v>19</c:v>
                </c:pt>
                <c:pt idx="167" formatCode="General">
                  <c:v>16</c:v>
                </c:pt>
                <c:pt idx="168" formatCode="General">
                  <c:v>26</c:v>
                </c:pt>
                <c:pt idx="169" formatCode="General">
                  <c:v>7</c:v>
                </c:pt>
                <c:pt idx="170" formatCode="General">
                  <c:v>8</c:v>
                </c:pt>
                <c:pt idx="171" formatCode="General">
                  <c:v>42</c:v>
                </c:pt>
                <c:pt idx="172" formatCode="General">
                  <c:v>28</c:v>
                </c:pt>
                <c:pt idx="173" formatCode="General">
                  <c:v>28</c:v>
                </c:pt>
                <c:pt idx="174" formatCode="General">
                  <c:v>19</c:v>
                </c:pt>
                <c:pt idx="175" formatCode="General">
                  <c:v>21</c:v>
                </c:pt>
                <c:pt idx="176" formatCode="General">
                  <c:v>5</c:v>
                </c:pt>
                <c:pt idx="177" formatCode="General">
                  <c:v>7</c:v>
                </c:pt>
                <c:pt idx="178" formatCode="General">
                  <c:v>28</c:v>
                </c:pt>
                <c:pt idx="179" formatCode="General">
                  <c:v>40</c:v>
                </c:pt>
                <c:pt idx="180" formatCode="General">
                  <c:v>24</c:v>
                </c:pt>
                <c:pt idx="181" formatCode="General">
                  <c:v>17</c:v>
                </c:pt>
                <c:pt idx="182" formatCode="General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5">
                  <c:v>0.41781299999999999</c:v>
                </c:pt>
                <c:pt idx="36">
                  <c:v>0.97489599999999998</c:v>
                </c:pt>
                <c:pt idx="37">
                  <c:v>1.810522</c:v>
                </c:pt>
                <c:pt idx="38">
                  <c:v>3.6210439999999999</c:v>
                </c:pt>
                <c:pt idx="39">
                  <c:v>13.091469999999999</c:v>
                </c:pt>
                <c:pt idx="40">
                  <c:v>63.368270000000003</c:v>
                </c:pt>
                <c:pt idx="41">
                  <c:v>128.9649</c:v>
                </c:pt>
                <c:pt idx="42">
                  <c:v>182.16640000000001</c:v>
                </c:pt>
                <c:pt idx="43">
                  <c:v>289.40499999999997</c:v>
                </c:pt>
                <c:pt idx="44">
                  <c:v>259.74029999999999</c:v>
                </c:pt>
                <c:pt idx="45">
                  <c:v>192.05459999999999</c:v>
                </c:pt>
                <c:pt idx="46">
                  <c:v>124.0904</c:v>
                </c:pt>
                <c:pt idx="47">
                  <c:v>85.790880000000001</c:v>
                </c:pt>
                <c:pt idx="48">
                  <c:v>65.875140000000002</c:v>
                </c:pt>
                <c:pt idx="49">
                  <c:v>69.078370000000007</c:v>
                </c:pt>
                <c:pt idx="50">
                  <c:v>68.382019999999997</c:v>
                </c:pt>
                <c:pt idx="51">
                  <c:v>83.701819999999998</c:v>
                </c:pt>
                <c:pt idx="52">
                  <c:v>99.02161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34.121369999999999</c:v>
                </c:pt>
                <c:pt idx="1">
                  <c:v>131.19319999999999</c:v>
                </c:pt>
                <c:pt idx="2">
                  <c:v>96.654020000000003</c:v>
                </c:pt>
                <c:pt idx="3">
                  <c:v>70.888900000000007</c:v>
                </c:pt>
                <c:pt idx="4">
                  <c:v>50.833880000000001</c:v>
                </c:pt>
                <c:pt idx="5">
                  <c:v>52.365859999999998</c:v>
                </c:pt>
                <c:pt idx="6">
                  <c:v>34.957000000000001</c:v>
                </c:pt>
                <c:pt idx="7">
                  <c:v>36.071170000000002</c:v>
                </c:pt>
                <c:pt idx="8">
                  <c:v>39.55294</c:v>
                </c:pt>
                <c:pt idx="9">
                  <c:v>38.856589999999997</c:v>
                </c:pt>
                <c:pt idx="10">
                  <c:v>30.778870000000001</c:v>
                </c:pt>
                <c:pt idx="11">
                  <c:v>22.004799999999999</c:v>
                </c:pt>
                <c:pt idx="12">
                  <c:v>14.90199</c:v>
                </c:pt>
                <c:pt idx="13">
                  <c:v>11.69876</c:v>
                </c:pt>
                <c:pt idx="14">
                  <c:v>11.0024</c:v>
                </c:pt>
                <c:pt idx="15">
                  <c:v>6.2671910000000004</c:v>
                </c:pt>
                <c:pt idx="16">
                  <c:v>4.8744820000000004</c:v>
                </c:pt>
                <c:pt idx="17">
                  <c:v>4.5959399999999997</c:v>
                </c:pt>
                <c:pt idx="18">
                  <c:v>2.5068769999999998</c:v>
                </c:pt>
                <c:pt idx="19">
                  <c:v>1.671251</c:v>
                </c:pt>
                <c:pt idx="20">
                  <c:v>2.5068769999999998</c:v>
                </c:pt>
                <c:pt idx="21">
                  <c:v>0.83562599999999998</c:v>
                </c:pt>
                <c:pt idx="22">
                  <c:v>0.41781299999999999</c:v>
                </c:pt>
                <c:pt idx="23">
                  <c:v>0</c:v>
                </c:pt>
                <c:pt idx="24">
                  <c:v>0</c:v>
                </c:pt>
                <c:pt idx="25">
                  <c:v>0.27854200000000001</c:v>
                </c:pt>
                <c:pt idx="26">
                  <c:v>0.27854200000000001</c:v>
                </c:pt>
                <c:pt idx="27">
                  <c:v>0.27854200000000001</c:v>
                </c:pt>
                <c:pt idx="28">
                  <c:v>0.13927100000000001</c:v>
                </c:pt>
                <c:pt idx="29">
                  <c:v>0.13927100000000001</c:v>
                </c:pt>
                <c:pt idx="30">
                  <c:v>0.41781299999999999</c:v>
                </c:pt>
                <c:pt idx="31">
                  <c:v>0</c:v>
                </c:pt>
                <c:pt idx="32">
                  <c:v>0.27854200000000001</c:v>
                </c:pt>
                <c:pt idx="33">
                  <c:v>0.13927100000000001</c:v>
                </c:pt>
                <c:pt idx="34">
                  <c:v>0.41781299999999999</c:v>
                </c:pt>
                <c:pt idx="35">
                  <c:v>1.2534380000000001</c:v>
                </c:pt>
                <c:pt idx="36">
                  <c:v>0.83562599999999998</c:v>
                </c:pt>
                <c:pt idx="37">
                  <c:v>0.27854200000000001</c:v>
                </c:pt>
                <c:pt idx="38">
                  <c:v>1.5319799999999999</c:v>
                </c:pt>
                <c:pt idx="39">
                  <c:v>2.3676059999999999</c:v>
                </c:pt>
                <c:pt idx="40">
                  <c:v>1.9497930000000001</c:v>
                </c:pt>
                <c:pt idx="41">
                  <c:v>2.3676059999999999</c:v>
                </c:pt>
                <c:pt idx="42">
                  <c:v>7.3813589999999998</c:v>
                </c:pt>
                <c:pt idx="43">
                  <c:v>8.2169840000000001</c:v>
                </c:pt>
                <c:pt idx="44">
                  <c:v>20.751370000000001</c:v>
                </c:pt>
                <c:pt idx="45">
                  <c:v>28.689810000000001</c:v>
                </c:pt>
                <c:pt idx="46">
                  <c:v>33.28575</c:v>
                </c:pt>
                <c:pt idx="47">
                  <c:v>40.110019999999999</c:v>
                </c:pt>
                <c:pt idx="48">
                  <c:v>31.753769999999999</c:v>
                </c:pt>
                <c:pt idx="49">
                  <c:v>27.71491</c:v>
                </c:pt>
                <c:pt idx="50">
                  <c:v>21.58699</c:v>
                </c:pt>
                <c:pt idx="51">
                  <c:v>11.14167</c:v>
                </c:pt>
                <c:pt idx="52">
                  <c:v>8.495525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0.97489599999999998</c:v>
                </c:pt>
                <c:pt idx="1">
                  <c:v>9.3311510000000002</c:v>
                </c:pt>
                <c:pt idx="2">
                  <c:v>10.166779999999999</c:v>
                </c:pt>
                <c:pt idx="3">
                  <c:v>38.438769999999998</c:v>
                </c:pt>
                <c:pt idx="4">
                  <c:v>67.267849999999996</c:v>
                </c:pt>
                <c:pt idx="5">
                  <c:v>74.788480000000007</c:v>
                </c:pt>
                <c:pt idx="6">
                  <c:v>63.646810000000002</c:v>
                </c:pt>
                <c:pt idx="7">
                  <c:v>49.719720000000002</c:v>
                </c:pt>
                <c:pt idx="8">
                  <c:v>31.753769999999999</c:v>
                </c:pt>
                <c:pt idx="9">
                  <c:v>22.561889999999998</c:v>
                </c:pt>
                <c:pt idx="10">
                  <c:v>22.701160000000002</c:v>
                </c:pt>
                <c:pt idx="11">
                  <c:v>20.472819999999999</c:v>
                </c:pt>
                <c:pt idx="12">
                  <c:v>20.890640000000001</c:v>
                </c:pt>
                <c:pt idx="13">
                  <c:v>17.26959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5.291150000000002</c:v>
                </c:pt>
                <c:pt idx="1">
                  <c:v>61.876040000000003</c:v>
                </c:pt>
                <c:pt idx="2">
                  <c:v>56.825279999999999</c:v>
                </c:pt>
                <c:pt idx="3">
                  <c:v>56.521740000000001</c:v>
                </c:pt>
                <c:pt idx="4">
                  <c:v>54.759810000000002</c:v>
                </c:pt>
                <c:pt idx="5">
                  <c:v>57.398670000000003</c:v>
                </c:pt>
                <c:pt idx="6">
                  <c:v>67.349189999999993</c:v>
                </c:pt>
                <c:pt idx="7">
                  <c:v>51.500480000000003</c:v>
                </c:pt>
                <c:pt idx="8">
                  <c:v>58.140479999999997</c:v>
                </c:pt>
                <c:pt idx="9">
                  <c:v>56.954329999999999</c:v>
                </c:pt>
                <c:pt idx="10">
                  <c:v>62.8132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2.49689</c:v>
                </c:pt>
                <c:pt idx="1">
                  <c:v>21.545929999999998</c:v>
                </c:pt>
                <c:pt idx="2">
                  <c:v>23.892009999999999</c:v>
                </c:pt>
                <c:pt idx="3">
                  <c:v>22.796330000000001</c:v>
                </c:pt>
                <c:pt idx="4">
                  <c:v>24.986799999999999</c:v>
                </c:pt>
                <c:pt idx="5">
                  <c:v>24.40053</c:v>
                </c:pt>
                <c:pt idx="6">
                  <c:v>19.220610000000001</c:v>
                </c:pt>
                <c:pt idx="7">
                  <c:v>24.545549999999999</c:v>
                </c:pt>
                <c:pt idx="8">
                  <c:v>24.03349</c:v>
                </c:pt>
                <c:pt idx="9">
                  <c:v>24.14573</c:v>
                </c:pt>
                <c:pt idx="10">
                  <c:v>20.52136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33656510000000001</c:v>
                </c:pt>
                <c:pt idx="1">
                  <c:v>0.55652639999999998</c:v>
                </c:pt>
                <c:pt idx="2">
                  <c:v>0.55034760000000005</c:v>
                </c:pt>
                <c:pt idx="3">
                  <c:v>0.60211440000000005</c:v>
                </c:pt>
                <c:pt idx="4">
                  <c:v>0.79183530000000002</c:v>
                </c:pt>
                <c:pt idx="5">
                  <c:v>0.58013610000000004</c:v>
                </c:pt>
                <c:pt idx="6">
                  <c:v>0.46235140000000002</c:v>
                </c:pt>
                <c:pt idx="7">
                  <c:v>0.52705170000000001</c:v>
                </c:pt>
                <c:pt idx="8">
                  <c:v>0.54451400000000005</c:v>
                </c:pt>
                <c:pt idx="9">
                  <c:v>0.46660699999999999</c:v>
                </c:pt>
                <c:pt idx="10">
                  <c:v>0.5082455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3.4497930000000001</c:v>
                </c:pt>
                <c:pt idx="1">
                  <c:v>9.8626729999999991</c:v>
                </c:pt>
                <c:pt idx="2">
                  <c:v>10.62311</c:v>
                </c:pt>
                <c:pt idx="3">
                  <c:v>10.305960000000001</c:v>
                </c:pt>
                <c:pt idx="4">
                  <c:v>11.91272</c:v>
                </c:pt>
                <c:pt idx="5">
                  <c:v>10.39217</c:v>
                </c:pt>
                <c:pt idx="6">
                  <c:v>7.5957730000000003</c:v>
                </c:pt>
                <c:pt idx="7">
                  <c:v>12.84285</c:v>
                </c:pt>
                <c:pt idx="8">
                  <c:v>10.61802</c:v>
                </c:pt>
                <c:pt idx="9">
                  <c:v>10.076829999999999</c:v>
                </c:pt>
                <c:pt idx="10">
                  <c:v>8.802924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8.4256019999999996</c:v>
                </c:pt>
                <c:pt idx="1">
                  <c:v>6.1588279999999997</c:v>
                </c:pt>
                <c:pt idx="2">
                  <c:v>8.1092479999999991</c:v>
                </c:pt>
                <c:pt idx="3">
                  <c:v>9.7738569999999996</c:v>
                </c:pt>
                <c:pt idx="4">
                  <c:v>7.5488299999999997</c:v>
                </c:pt>
                <c:pt idx="5">
                  <c:v>7.2284959999999998</c:v>
                </c:pt>
                <c:pt idx="6">
                  <c:v>5.3720829999999999</c:v>
                </c:pt>
                <c:pt idx="7">
                  <c:v>10.584059999999999</c:v>
                </c:pt>
                <c:pt idx="8">
                  <c:v>6.6634900000000004</c:v>
                </c:pt>
                <c:pt idx="9">
                  <c:v>8.3565070000000006</c:v>
                </c:pt>
                <c:pt idx="10">
                  <c:v>7.35416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álovéhrad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Ústecký kraj</c:v>
                </c:pt>
                <c:pt idx="7">
                  <c:v>Pardubi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652500000000003</c:v>
                </c:pt>
                <c:pt idx="1">
                  <c:v>90.461299999999994</c:v>
                </c:pt>
                <c:pt idx="2">
                  <c:v>90.166409999999999</c:v>
                </c:pt>
                <c:pt idx="3">
                  <c:v>90.120660000000001</c:v>
                </c:pt>
                <c:pt idx="4">
                  <c:v>90.055899999999994</c:v>
                </c:pt>
                <c:pt idx="5">
                  <c:v>89.646829999999994</c:v>
                </c:pt>
                <c:pt idx="6">
                  <c:v>89.134619999999998</c:v>
                </c:pt>
                <c:pt idx="7">
                  <c:v>89.119169999999997</c:v>
                </c:pt>
                <c:pt idx="8">
                  <c:v>89.038539999999998</c:v>
                </c:pt>
                <c:pt idx="9">
                  <c:v>88.023030000000006</c:v>
                </c:pt>
                <c:pt idx="10">
                  <c:v>87.272729999999996</c:v>
                </c:pt>
                <c:pt idx="11">
                  <c:v>85.214010000000002</c:v>
                </c:pt>
                <c:pt idx="12">
                  <c:v>84.966139999999996</c:v>
                </c:pt>
                <c:pt idx="13">
                  <c:v>84.437669999999997</c:v>
                </c:pt>
                <c:pt idx="14">
                  <c:v>84.33566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605329999999995</c:v>
                </c:pt>
                <c:pt idx="1">
                  <c:v>88.368200000000002</c:v>
                </c:pt>
                <c:pt idx="2">
                  <c:v>87.908209999999997</c:v>
                </c:pt>
                <c:pt idx="3">
                  <c:v>87.532049999999998</c:v>
                </c:pt>
                <c:pt idx="4">
                  <c:v>86.525729999999996</c:v>
                </c:pt>
                <c:pt idx="5">
                  <c:v>86.310659999999999</c:v>
                </c:pt>
                <c:pt idx="6">
                  <c:v>85.458299999999994</c:v>
                </c:pt>
                <c:pt idx="7">
                  <c:v>84.769589999999994</c:v>
                </c:pt>
                <c:pt idx="8">
                  <c:v>84.615380000000002</c:v>
                </c:pt>
                <c:pt idx="9">
                  <c:v>84.293120000000002</c:v>
                </c:pt>
                <c:pt idx="10">
                  <c:v>83.403720000000007</c:v>
                </c:pt>
                <c:pt idx="11">
                  <c:v>81.569469999999995</c:v>
                </c:pt>
                <c:pt idx="12">
                  <c:v>79.364519999999999</c:v>
                </c:pt>
                <c:pt idx="13">
                  <c:v>79.336439999999996</c:v>
                </c:pt>
                <c:pt idx="14">
                  <c:v>78.10934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35 Řidič vozidla zdravotnické záchranné služby</c:v>
                </c:pt>
                <c:pt idx="14">
                  <c:v>§ 17 Dentální hygienistka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11 Optometrista</c:v>
                </c:pt>
                <c:pt idx="18">
                  <c:v>§ 15 Nutriční terapeut</c:v>
                </c:pt>
                <c:pt idx="19">
                  <c:v>§ 23 Logoped ve zdravotnictví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6537</c:v>
                </c:pt>
                <c:pt idx="1">
                  <c:v>3162</c:v>
                </c:pt>
                <c:pt idx="2">
                  <c:v>2582</c:v>
                </c:pt>
                <c:pt idx="3">
                  <c:v>2410</c:v>
                </c:pt>
                <c:pt idx="4">
                  <c:v>2112</c:v>
                </c:pt>
                <c:pt idx="5">
                  <c:v>1407</c:v>
                </c:pt>
                <c:pt idx="6">
                  <c:v>1271</c:v>
                </c:pt>
                <c:pt idx="7">
                  <c:v>1110</c:v>
                </c:pt>
                <c:pt idx="8">
                  <c:v>1003</c:v>
                </c:pt>
                <c:pt idx="9">
                  <c:v>979</c:v>
                </c:pt>
                <c:pt idx="10">
                  <c:v>768</c:v>
                </c:pt>
                <c:pt idx="11">
                  <c:v>606</c:v>
                </c:pt>
                <c:pt idx="12">
                  <c:v>500</c:v>
                </c:pt>
                <c:pt idx="13">
                  <c:v>494</c:v>
                </c:pt>
                <c:pt idx="14">
                  <c:v>449</c:v>
                </c:pt>
                <c:pt idx="15">
                  <c:v>342</c:v>
                </c:pt>
                <c:pt idx="16">
                  <c:v>285</c:v>
                </c:pt>
                <c:pt idx="17">
                  <c:v>284</c:v>
                </c:pt>
                <c:pt idx="18">
                  <c:v>280</c:v>
                </c:pt>
                <c:pt idx="19">
                  <c:v>257</c:v>
                </c:pt>
                <c:pt idx="20">
                  <c:v>252</c:v>
                </c:pt>
                <c:pt idx="21">
                  <c:v>237</c:v>
                </c:pt>
                <c:pt idx="22">
                  <c:v>133</c:v>
                </c:pt>
                <c:pt idx="23">
                  <c:v>76</c:v>
                </c:pt>
                <c:pt idx="24">
                  <c:v>72</c:v>
                </c:pt>
                <c:pt idx="25">
                  <c:v>69</c:v>
                </c:pt>
                <c:pt idx="26">
                  <c:v>51</c:v>
                </c:pt>
                <c:pt idx="27">
                  <c:v>45</c:v>
                </c:pt>
                <c:pt idx="28">
                  <c:v>37</c:v>
                </c:pt>
                <c:pt idx="29">
                  <c:v>30</c:v>
                </c:pt>
                <c:pt idx="30">
                  <c:v>23</c:v>
                </c:pt>
                <c:pt idx="31">
                  <c:v>14</c:v>
                </c:pt>
                <c:pt idx="32">
                  <c:v>14</c:v>
                </c:pt>
                <c:pt idx="33">
                  <c:v>6</c:v>
                </c:pt>
                <c:pt idx="34">
                  <c:v>5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26 Odborný pracovník v laboratorních metodách a v přípravě léčivých přípravků</c:v>
                </c:pt>
                <c:pt idx="8">
                  <c:v>§ 39 Zubní instrumentářka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23 Logoped ve zdravotnictví</c:v>
                </c:pt>
                <c:pt idx="18">
                  <c:v>§ 15 Nutriční terapeut</c:v>
                </c:pt>
                <c:pt idx="19">
                  <c:v>§ 11 Optometrista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28 Odborný pracovník v ochraně a podpoře veřejného zdraví</c:v>
                </c:pt>
                <c:pt idx="24">
                  <c:v>§ 33 Asistent zubního technika</c:v>
                </c:pt>
                <c:pt idx="25">
                  <c:v>§ 21a Adiktolog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2 Nutriční asistent</c:v>
                </c:pt>
                <c:pt idx="32">
                  <c:v>§ 31 Ortoticko-protetický technik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4103</c:v>
                </c:pt>
                <c:pt idx="1">
                  <c:v>2229</c:v>
                </c:pt>
                <c:pt idx="2">
                  <c:v>1785</c:v>
                </c:pt>
                <c:pt idx="3">
                  <c:v>1763</c:v>
                </c:pt>
                <c:pt idx="4">
                  <c:v>1445</c:v>
                </c:pt>
                <c:pt idx="5">
                  <c:v>891</c:v>
                </c:pt>
                <c:pt idx="6">
                  <c:v>862</c:v>
                </c:pt>
                <c:pt idx="7">
                  <c:v>771</c:v>
                </c:pt>
                <c:pt idx="8">
                  <c:v>760</c:v>
                </c:pt>
                <c:pt idx="9">
                  <c:v>688</c:v>
                </c:pt>
                <c:pt idx="10">
                  <c:v>506</c:v>
                </c:pt>
                <c:pt idx="11">
                  <c:v>392</c:v>
                </c:pt>
                <c:pt idx="12">
                  <c:v>391</c:v>
                </c:pt>
                <c:pt idx="13">
                  <c:v>319</c:v>
                </c:pt>
                <c:pt idx="14">
                  <c:v>315</c:v>
                </c:pt>
                <c:pt idx="15">
                  <c:v>221</c:v>
                </c:pt>
                <c:pt idx="16">
                  <c:v>211</c:v>
                </c:pt>
                <c:pt idx="17">
                  <c:v>197</c:v>
                </c:pt>
                <c:pt idx="18">
                  <c:v>194</c:v>
                </c:pt>
                <c:pt idx="19">
                  <c:v>190</c:v>
                </c:pt>
                <c:pt idx="20">
                  <c:v>172</c:v>
                </c:pt>
                <c:pt idx="21">
                  <c:v>170</c:v>
                </c:pt>
                <c:pt idx="22">
                  <c:v>98</c:v>
                </c:pt>
                <c:pt idx="23">
                  <c:v>53</c:v>
                </c:pt>
                <c:pt idx="24">
                  <c:v>51</c:v>
                </c:pt>
                <c:pt idx="25">
                  <c:v>50</c:v>
                </c:pt>
                <c:pt idx="26">
                  <c:v>40</c:v>
                </c:pt>
                <c:pt idx="27">
                  <c:v>39</c:v>
                </c:pt>
                <c:pt idx="28">
                  <c:v>25</c:v>
                </c:pt>
                <c:pt idx="29">
                  <c:v>22</c:v>
                </c:pt>
                <c:pt idx="30">
                  <c:v>17</c:v>
                </c:pt>
                <c:pt idx="31">
                  <c:v>8</c:v>
                </c:pt>
                <c:pt idx="32">
                  <c:v>7</c:v>
                </c:pt>
                <c:pt idx="33">
                  <c:v>5</c:v>
                </c:pt>
                <c:pt idx="34">
                  <c:v>4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26 Odborný pracovník v laboratorních metodách a v přípravě léčivých přípravků</c:v>
                </c:pt>
                <c:pt idx="8">
                  <c:v>§ 8 Radiologický asistent</c:v>
                </c:pt>
                <c:pt idx="9">
                  <c:v>§ 39 Zubní instrumentářka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35 Řidič vozidla zdravotnické záchranné služby</c:v>
                </c:pt>
                <c:pt idx="14">
                  <c:v>§ 17 Dentální hygienistka</c:v>
                </c:pt>
                <c:pt idx="15">
                  <c:v>§ 7 Ergoterapeut</c:v>
                </c:pt>
                <c:pt idx="16">
                  <c:v>§ 37 Masér ve zdravotnictví, nevidomý a slabozraký masér ve zdravotnictví</c:v>
                </c:pt>
                <c:pt idx="17">
                  <c:v>§ 11 Optometrista</c:v>
                </c:pt>
                <c:pt idx="18">
                  <c:v>§ 23 Logoped ve zdravotnictví</c:v>
                </c:pt>
                <c:pt idx="19">
                  <c:v>§ 15 Nutriční terapeut</c:v>
                </c:pt>
                <c:pt idx="20">
                  <c:v>§ 30 Laboratorní asistent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28 Odborný pracovník v ochraně a podpoře veřejného zdraví</c:v>
                </c:pt>
                <c:pt idx="24">
                  <c:v>§ 21a Adiktolog</c:v>
                </c:pt>
                <c:pt idx="25">
                  <c:v>§ 33 Asistent zubního technika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23a Zrakový terapeut</c:v>
                </c:pt>
                <c:pt idx="35">
                  <c:v>§ 41 Autoptický laboran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2824</c:v>
                </c:pt>
                <c:pt idx="1">
                  <c:v>1493</c:v>
                </c:pt>
                <c:pt idx="2">
                  <c:v>1204</c:v>
                </c:pt>
                <c:pt idx="3">
                  <c:v>1150</c:v>
                </c:pt>
                <c:pt idx="4">
                  <c:v>959</c:v>
                </c:pt>
                <c:pt idx="5">
                  <c:v>641</c:v>
                </c:pt>
                <c:pt idx="6">
                  <c:v>562</c:v>
                </c:pt>
                <c:pt idx="7">
                  <c:v>544</c:v>
                </c:pt>
                <c:pt idx="8">
                  <c:v>493</c:v>
                </c:pt>
                <c:pt idx="9">
                  <c:v>489</c:v>
                </c:pt>
                <c:pt idx="10">
                  <c:v>326</c:v>
                </c:pt>
                <c:pt idx="11">
                  <c:v>296</c:v>
                </c:pt>
                <c:pt idx="12">
                  <c:v>259</c:v>
                </c:pt>
                <c:pt idx="13">
                  <c:v>223</c:v>
                </c:pt>
                <c:pt idx="14">
                  <c:v>221</c:v>
                </c:pt>
                <c:pt idx="15">
                  <c:v>147</c:v>
                </c:pt>
                <c:pt idx="16">
                  <c:v>140</c:v>
                </c:pt>
                <c:pt idx="17">
                  <c:v>125</c:v>
                </c:pt>
                <c:pt idx="18">
                  <c:v>125</c:v>
                </c:pt>
                <c:pt idx="19">
                  <c:v>123</c:v>
                </c:pt>
                <c:pt idx="20">
                  <c:v>123</c:v>
                </c:pt>
                <c:pt idx="21">
                  <c:v>119</c:v>
                </c:pt>
                <c:pt idx="22">
                  <c:v>67</c:v>
                </c:pt>
                <c:pt idx="23">
                  <c:v>40</c:v>
                </c:pt>
                <c:pt idx="24">
                  <c:v>33</c:v>
                </c:pt>
                <c:pt idx="25">
                  <c:v>32</c:v>
                </c:pt>
                <c:pt idx="26">
                  <c:v>30</c:v>
                </c:pt>
                <c:pt idx="27">
                  <c:v>28</c:v>
                </c:pt>
                <c:pt idx="28">
                  <c:v>19</c:v>
                </c:pt>
                <c:pt idx="29">
                  <c:v>17</c:v>
                </c:pt>
                <c:pt idx="30">
                  <c:v>12</c:v>
                </c:pt>
                <c:pt idx="31">
                  <c:v>6</c:v>
                </c:pt>
                <c:pt idx="32">
                  <c:v>5</c:v>
                </c:pt>
                <c:pt idx="33">
                  <c:v>4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1.10.21</c:v>
                </c:pt>
                <c:pt idx="1">
                  <c:v>02.10.21</c:v>
                </c:pt>
                <c:pt idx="2">
                  <c:v>03.10.21</c:v>
                </c:pt>
                <c:pt idx="3">
                  <c:v>04.10.21</c:v>
                </c:pt>
                <c:pt idx="4">
                  <c:v>05.10.21</c:v>
                </c:pt>
                <c:pt idx="5">
                  <c:v>06.10.21</c:v>
                </c:pt>
                <c:pt idx="6">
                  <c:v>07.10.21</c:v>
                </c:pt>
                <c:pt idx="7">
                  <c:v>08.10.21</c:v>
                </c:pt>
                <c:pt idx="8">
                  <c:v>09.10.21</c:v>
                </c:pt>
                <c:pt idx="9">
                  <c:v>10.10.21</c:v>
                </c:pt>
                <c:pt idx="10">
                  <c:v>11.10.21</c:v>
                </c:pt>
                <c:pt idx="11">
                  <c:v>12.10.21</c:v>
                </c:pt>
                <c:pt idx="12">
                  <c:v>13.10.21</c:v>
                </c:pt>
                <c:pt idx="13">
                  <c:v>14.10.21</c:v>
                </c:pt>
                <c:pt idx="14">
                  <c:v>15.10.21</c:v>
                </c:pt>
                <c:pt idx="15">
                  <c:v>16.10.21</c:v>
                </c:pt>
                <c:pt idx="16">
                  <c:v>17.10.21</c:v>
                </c:pt>
                <c:pt idx="17">
                  <c:v>18.10.21</c:v>
                </c:pt>
                <c:pt idx="18">
                  <c:v>19.10.21</c:v>
                </c:pt>
                <c:pt idx="19">
                  <c:v>20.10.21</c:v>
                </c:pt>
                <c:pt idx="20">
                  <c:v>21.10.21</c:v>
                </c:pt>
                <c:pt idx="21">
                  <c:v>22.10.21</c:v>
                </c:pt>
                <c:pt idx="22">
                  <c:v>23.10.21</c:v>
                </c:pt>
                <c:pt idx="23">
                  <c:v>24.10.21</c:v>
                </c:pt>
                <c:pt idx="24">
                  <c:v>25.10.21</c:v>
                </c:pt>
                <c:pt idx="25">
                  <c:v>26.10.21</c:v>
                </c:pt>
                <c:pt idx="26">
                  <c:v>27.10.21</c:v>
                </c:pt>
                <c:pt idx="27">
                  <c:v>28.10.21</c:v>
                </c:pt>
                <c:pt idx="28">
                  <c:v>29.10.21</c:v>
                </c:pt>
                <c:pt idx="29">
                  <c:v>30.10.21</c:v>
                </c:pt>
                <c:pt idx="30">
                  <c:v>31.10.21</c:v>
                </c:pt>
                <c:pt idx="31">
                  <c:v>01.11.21</c:v>
                </c:pt>
                <c:pt idx="32">
                  <c:v>02.11.21</c:v>
                </c:pt>
                <c:pt idx="33">
                  <c:v>03.11.21</c:v>
                </c:pt>
                <c:pt idx="34">
                  <c:v>04.11.21</c:v>
                </c:pt>
                <c:pt idx="35">
                  <c:v>05.11.21</c:v>
                </c:pt>
                <c:pt idx="36">
                  <c:v>06.11.21</c:v>
                </c:pt>
                <c:pt idx="37">
                  <c:v>07.11.21</c:v>
                </c:pt>
                <c:pt idx="38">
                  <c:v>08.11.21</c:v>
                </c:pt>
                <c:pt idx="39">
                  <c:v>09.11.21</c:v>
                </c:pt>
                <c:pt idx="40">
                  <c:v>10.11.21</c:v>
                </c:pt>
                <c:pt idx="41">
                  <c:v>11.11.21</c:v>
                </c:pt>
                <c:pt idx="42">
                  <c:v>12.11.21</c:v>
                </c:pt>
                <c:pt idx="43">
                  <c:v>13.11.21</c:v>
                </c:pt>
                <c:pt idx="44">
                  <c:v>14.11.21</c:v>
                </c:pt>
                <c:pt idx="45">
                  <c:v>15.11.21</c:v>
                </c:pt>
                <c:pt idx="46">
                  <c:v>16.11.21</c:v>
                </c:pt>
                <c:pt idx="47">
                  <c:v>17.11.21</c:v>
                </c:pt>
                <c:pt idx="48">
                  <c:v>18.11.21</c:v>
                </c:pt>
                <c:pt idx="49">
                  <c:v>19.11.21</c:v>
                </c:pt>
                <c:pt idx="50">
                  <c:v>20.11.21</c:v>
                </c:pt>
                <c:pt idx="51">
                  <c:v>21.11.21</c:v>
                </c:pt>
                <c:pt idx="52">
                  <c:v>22.11.21</c:v>
                </c:pt>
                <c:pt idx="53">
                  <c:v>23.11.21</c:v>
                </c:pt>
                <c:pt idx="54">
                  <c:v>24.11.21</c:v>
                </c:pt>
                <c:pt idx="55">
                  <c:v>25.11.21</c:v>
                </c:pt>
                <c:pt idx="56">
                  <c:v>26.11.21</c:v>
                </c:pt>
                <c:pt idx="57">
                  <c:v>27.11.21</c:v>
                </c:pt>
                <c:pt idx="58">
                  <c:v>28.11.21</c:v>
                </c:pt>
                <c:pt idx="59">
                  <c:v>29.11.21</c:v>
                </c:pt>
                <c:pt idx="60">
                  <c:v>30.11.21</c:v>
                </c:pt>
                <c:pt idx="61">
                  <c:v>01.12.21</c:v>
                </c:pt>
                <c:pt idx="62">
                  <c:v>02.12.21</c:v>
                </c:pt>
                <c:pt idx="63">
                  <c:v>03.12.21</c:v>
                </c:pt>
                <c:pt idx="64">
                  <c:v>04.12.21</c:v>
                </c:pt>
                <c:pt idx="65">
                  <c:v>05.12.21</c:v>
                </c:pt>
                <c:pt idx="66">
                  <c:v>06.12.21</c:v>
                </c:pt>
                <c:pt idx="67">
                  <c:v>07.12.21</c:v>
                </c:pt>
                <c:pt idx="68">
                  <c:v>08.12.21</c:v>
                </c:pt>
                <c:pt idx="69">
                  <c:v>09.12.21</c:v>
                </c:pt>
                <c:pt idx="70">
                  <c:v>10.12.21</c:v>
                </c:pt>
                <c:pt idx="71">
                  <c:v>11.12.21</c:v>
                </c:pt>
                <c:pt idx="72">
                  <c:v>12.12.21</c:v>
                </c:pt>
                <c:pt idx="73">
                  <c:v>13.12.21</c:v>
                </c:pt>
                <c:pt idx="74">
                  <c:v>14.12.21</c:v>
                </c:pt>
                <c:pt idx="75">
                  <c:v>15.12.21</c:v>
                </c:pt>
                <c:pt idx="76">
                  <c:v>16.12.21</c:v>
                </c:pt>
                <c:pt idx="77">
                  <c:v>17.12.21</c:v>
                </c:pt>
                <c:pt idx="78">
                  <c:v>18.12.21</c:v>
                </c:pt>
                <c:pt idx="79">
                  <c:v>19.12.21</c:v>
                </c:pt>
                <c:pt idx="80">
                  <c:v>20.12.21</c:v>
                </c:pt>
                <c:pt idx="81">
                  <c:v>21.12.21</c:v>
                </c:pt>
                <c:pt idx="82">
                  <c:v>22.12.21</c:v>
                </c:pt>
                <c:pt idx="83">
                  <c:v>23.12.21</c:v>
                </c:pt>
                <c:pt idx="84">
                  <c:v>24.12.21</c:v>
                </c:pt>
                <c:pt idx="85">
                  <c:v>25.12.21</c:v>
                </c:pt>
                <c:pt idx="86">
                  <c:v>26.12.21</c:v>
                </c:pt>
                <c:pt idx="87">
                  <c:v>27.12.21</c:v>
                </c:pt>
                <c:pt idx="88">
                  <c:v>28.12.21</c:v>
                </c:pt>
                <c:pt idx="89">
                  <c:v>29.12.21</c:v>
                </c:pt>
                <c:pt idx="90">
                  <c:v>30.12.21</c:v>
                </c:pt>
                <c:pt idx="91">
                  <c:v>31.12.21</c:v>
                </c:pt>
                <c:pt idx="92">
                  <c:v>01.01.22</c:v>
                </c:pt>
                <c:pt idx="93">
                  <c:v>02.01.22</c:v>
                </c:pt>
                <c:pt idx="94">
                  <c:v>03.01.22</c:v>
                </c:pt>
                <c:pt idx="95">
                  <c:v>04.01.22</c:v>
                </c:pt>
                <c:pt idx="96">
                  <c:v>05.01.22</c:v>
                </c:pt>
                <c:pt idx="97">
                  <c:v>06.01.22</c:v>
                </c:pt>
                <c:pt idx="98">
                  <c:v>07.01.22</c:v>
                </c:pt>
                <c:pt idx="99">
                  <c:v>08.01.22</c:v>
                </c:pt>
                <c:pt idx="100">
                  <c:v>09.01.22</c:v>
                </c:pt>
                <c:pt idx="101">
                  <c:v>10.01.22</c:v>
                </c:pt>
                <c:pt idx="102">
                  <c:v>11.01.22</c:v>
                </c:pt>
                <c:pt idx="103">
                  <c:v>12.01.22</c:v>
                </c:pt>
                <c:pt idx="104">
                  <c:v>13.01.22</c:v>
                </c:pt>
                <c:pt idx="105">
                  <c:v>14.01.22</c:v>
                </c:pt>
                <c:pt idx="106">
                  <c:v>15.01.22</c:v>
                </c:pt>
                <c:pt idx="107">
                  <c:v>16.01.22</c:v>
                </c:pt>
                <c:pt idx="108">
                  <c:v>17.01.22</c:v>
                </c:pt>
                <c:pt idx="109">
                  <c:v>18.01.22</c:v>
                </c:pt>
                <c:pt idx="110">
                  <c:v>19.01.22</c:v>
                </c:pt>
                <c:pt idx="111">
                  <c:v>20.01.22</c:v>
                </c:pt>
                <c:pt idx="112">
                  <c:v>21.01.22</c:v>
                </c:pt>
                <c:pt idx="113">
                  <c:v>22.01.22</c:v>
                </c:pt>
                <c:pt idx="114">
                  <c:v>23.01.22</c:v>
                </c:pt>
                <c:pt idx="115">
                  <c:v>24.01.22</c:v>
                </c:pt>
                <c:pt idx="116">
                  <c:v>25.01.22</c:v>
                </c:pt>
                <c:pt idx="117">
                  <c:v>26.01.22</c:v>
                </c:pt>
                <c:pt idx="118">
                  <c:v>27.01.22</c:v>
                </c:pt>
                <c:pt idx="119">
                  <c:v>28.01.22</c:v>
                </c:pt>
                <c:pt idx="120">
                  <c:v>29.01.22</c:v>
                </c:pt>
                <c:pt idx="121">
                  <c:v>30.01.22</c:v>
                </c:pt>
                <c:pt idx="122">
                  <c:v>31.01.22</c:v>
                </c:pt>
                <c:pt idx="123">
                  <c:v>01.02.22</c:v>
                </c:pt>
                <c:pt idx="124">
                  <c:v>02.02.22</c:v>
                </c:pt>
                <c:pt idx="125">
                  <c:v>03.02.22</c:v>
                </c:pt>
                <c:pt idx="126">
                  <c:v>04.02.22</c:v>
                </c:pt>
                <c:pt idx="127">
                  <c:v>05.02.22</c:v>
                </c:pt>
                <c:pt idx="128">
                  <c:v>06.02.22</c:v>
                </c:pt>
                <c:pt idx="129">
                  <c:v>07.02.22</c:v>
                </c:pt>
                <c:pt idx="130">
                  <c:v>08.02.22</c:v>
                </c:pt>
                <c:pt idx="131">
                  <c:v>09.02.22</c:v>
                </c:pt>
                <c:pt idx="132">
                  <c:v>10.02.22</c:v>
                </c:pt>
                <c:pt idx="133">
                  <c:v>11.02.22</c:v>
                </c:pt>
                <c:pt idx="134">
                  <c:v>12.02.22</c:v>
                </c:pt>
                <c:pt idx="135">
                  <c:v>13.02.22</c:v>
                </c:pt>
                <c:pt idx="136">
                  <c:v>14.02.22</c:v>
                </c:pt>
                <c:pt idx="137">
                  <c:v>15.02.22</c:v>
                </c:pt>
                <c:pt idx="138">
                  <c:v>16.02.22</c:v>
                </c:pt>
                <c:pt idx="139">
                  <c:v>17.02.22</c:v>
                </c:pt>
                <c:pt idx="140">
                  <c:v>18.02.22</c:v>
                </c:pt>
                <c:pt idx="141">
                  <c:v>19.02.22</c:v>
                </c:pt>
                <c:pt idx="142">
                  <c:v>20.02.22</c:v>
                </c:pt>
                <c:pt idx="143">
                  <c:v>21.02.22</c:v>
                </c:pt>
                <c:pt idx="144">
                  <c:v>22.02.22</c:v>
                </c:pt>
                <c:pt idx="145">
                  <c:v>23.02.22</c:v>
                </c:pt>
                <c:pt idx="146">
                  <c:v>24.02.22</c:v>
                </c:pt>
                <c:pt idx="147">
                  <c:v>25.02.22</c:v>
                </c:pt>
                <c:pt idx="148">
                  <c:v>26.02.22</c:v>
                </c:pt>
                <c:pt idx="149">
                  <c:v>27.02.22</c:v>
                </c:pt>
                <c:pt idx="150">
                  <c:v>28.02.22</c:v>
                </c:pt>
                <c:pt idx="151">
                  <c:v>01.03.22</c:v>
                </c:pt>
                <c:pt idx="152">
                  <c:v>02.03.22</c:v>
                </c:pt>
                <c:pt idx="153">
                  <c:v>03.03.22</c:v>
                </c:pt>
                <c:pt idx="154">
                  <c:v>04.03.22</c:v>
                </c:pt>
                <c:pt idx="155">
                  <c:v>05.03.22</c:v>
                </c:pt>
                <c:pt idx="156">
                  <c:v>06.03.22</c:v>
                </c:pt>
                <c:pt idx="157">
                  <c:v>07.03.22</c:v>
                </c:pt>
                <c:pt idx="158">
                  <c:v>08.03.22</c:v>
                </c:pt>
                <c:pt idx="159">
                  <c:v>09.03.22</c:v>
                </c:pt>
                <c:pt idx="160">
                  <c:v>10.03.22</c:v>
                </c:pt>
                <c:pt idx="161">
                  <c:v>11.03.22</c:v>
                </c:pt>
                <c:pt idx="162">
                  <c:v>12.03.22</c:v>
                </c:pt>
                <c:pt idx="163">
                  <c:v>13.03.22</c:v>
                </c:pt>
                <c:pt idx="164">
                  <c:v>14.03.22</c:v>
                </c:pt>
                <c:pt idx="165">
                  <c:v>15.03.22</c:v>
                </c:pt>
                <c:pt idx="166">
                  <c:v>16.03.22</c:v>
                </c:pt>
                <c:pt idx="167">
                  <c:v>17.03.22</c:v>
                </c:pt>
                <c:pt idx="168">
                  <c:v>18.03.22</c:v>
                </c:pt>
                <c:pt idx="169">
                  <c:v>19.03.22</c:v>
                </c:pt>
                <c:pt idx="170">
                  <c:v>20.03.22</c:v>
                </c:pt>
                <c:pt idx="171">
                  <c:v>21.03.22</c:v>
                </c:pt>
                <c:pt idx="172">
                  <c:v>22.03.22</c:v>
                </c:pt>
                <c:pt idx="173">
                  <c:v>23.03.22</c:v>
                </c:pt>
                <c:pt idx="174">
                  <c:v>24.03.22</c:v>
                </c:pt>
                <c:pt idx="175">
                  <c:v>25.03.22</c:v>
                </c:pt>
                <c:pt idx="176">
                  <c:v>26.03.22</c:v>
                </c:pt>
                <c:pt idx="177">
                  <c:v>27.03.22</c:v>
                </c:pt>
                <c:pt idx="178">
                  <c:v>28.03.22</c:v>
                </c:pt>
                <c:pt idx="179">
                  <c:v>29.03.22</c:v>
                </c:pt>
                <c:pt idx="180">
                  <c:v>30.03.22</c:v>
                </c:pt>
                <c:pt idx="181">
                  <c:v>31.03.22</c:v>
                </c:pt>
                <c:pt idx="182">
                  <c:v>01.04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</c:v>
                </c:pt>
                <c:pt idx="1">
                  <c:v>5</c:v>
                </c:pt>
                <c:pt idx="2">
                  <c:v>1</c:v>
                </c:pt>
                <c:pt idx="3">
                  <c:v>0</c:v>
                </c:pt>
                <c:pt idx="4">
                  <c:v>2</c:v>
                </c:pt>
                <c:pt idx="5">
                  <c:v>5</c:v>
                </c:pt>
                <c:pt idx="6">
                  <c:v>6</c:v>
                </c:pt>
                <c:pt idx="7">
                  <c:v>6</c:v>
                </c:pt>
                <c:pt idx="8">
                  <c:v>1</c:v>
                </c:pt>
                <c:pt idx="9">
                  <c:v>1</c:v>
                </c:pt>
                <c:pt idx="10">
                  <c:v>3</c:v>
                </c:pt>
                <c:pt idx="11">
                  <c:v>10</c:v>
                </c:pt>
                <c:pt idx="12">
                  <c:v>7</c:v>
                </c:pt>
                <c:pt idx="13">
                  <c:v>7</c:v>
                </c:pt>
                <c:pt idx="14">
                  <c:v>6</c:v>
                </c:pt>
                <c:pt idx="15">
                  <c:v>5</c:v>
                </c:pt>
                <c:pt idx="16">
                  <c:v>8</c:v>
                </c:pt>
                <c:pt idx="17">
                  <c:v>17</c:v>
                </c:pt>
                <c:pt idx="18">
                  <c:v>16</c:v>
                </c:pt>
                <c:pt idx="19">
                  <c:v>13</c:v>
                </c:pt>
                <c:pt idx="20">
                  <c:v>13</c:v>
                </c:pt>
                <c:pt idx="21">
                  <c:v>16</c:v>
                </c:pt>
                <c:pt idx="22">
                  <c:v>13</c:v>
                </c:pt>
                <c:pt idx="23">
                  <c:v>12</c:v>
                </c:pt>
                <c:pt idx="24">
                  <c:v>28</c:v>
                </c:pt>
                <c:pt idx="25">
                  <c:v>20</c:v>
                </c:pt>
                <c:pt idx="26">
                  <c:v>25</c:v>
                </c:pt>
                <c:pt idx="27">
                  <c:v>22</c:v>
                </c:pt>
                <c:pt idx="28">
                  <c:v>36</c:v>
                </c:pt>
                <c:pt idx="29">
                  <c:v>21</c:v>
                </c:pt>
                <c:pt idx="30">
                  <c:v>18</c:v>
                </c:pt>
                <c:pt idx="31">
                  <c:v>55</c:v>
                </c:pt>
                <c:pt idx="32">
                  <c:v>37</c:v>
                </c:pt>
                <c:pt idx="33">
                  <c:v>38</c:v>
                </c:pt>
                <c:pt idx="34">
                  <c:v>27</c:v>
                </c:pt>
                <c:pt idx="35">
                  <c:v>40</c:v>
                </c:pt>
                <c:pt idx="36">
                  <c:v>20</c:v>
                </c:pt>
                <c:pt idx="37">
                  <c:v>18</c:v>
                </c:pt>
                <c:pt idx="38">
                  <c:v>52</c:v>
                </c:pt>
                <c:pt idx="39">
                  <c:v>47</c:v>
                </c:pt>
                <c:pt idx="40">
                  <c:v>47</c:v>
                </c:pt>
                <c:pt idx="41">
                  <c:v>49</c:v>
                </c:pt>
                <c:pt idx="42">
                  <c:v>41</c:v>
                </c:pt>
                <c:pt idx="43">
                  <c:v>48</c:v>
                </c:pt>
                <c:pt idx="44">
                  <c:v>22</c:v>
                </c:pt>
                <c:pt idx="45">
                  <c:v>63</c:v>
                </c:pt>
                <c:pt idx="46">
                  <c:v>56</c:v>
                </c:pt>
                <c:pt idx="47">
                  <c:v>43</c:v>
                </c:pt>
                <c:pt idx="48">
                  <c:v>53</c:v>
                </c:pt>
                <c:pt idx="49">
                  <c:v>77</c:v>
                </c:pt>
                <c:pt idx="50">
                  <c:v>46</c:v>
                </c:pt>
                <c:pt idx="51">
                  <c:v>32</c:v>
                </c:pt>
                <c:pt idx="52">
                  <c:v>61</c:v>
                </c:pt>
                <c:pt idx="53">
                  <c:v>69</c:v>
                </c:pt>
                <c:pt idx="54">
                  <c:v>41</c:v>
                </c:pt>
                <c:pt idx="55">
                  <c:v>66</c:v>
                </c:pt>
                <c:pt idx="56">
                  <c:v>51</c:v>
                </c:pt>
                <c:pt idx="57">
                  <c:v>35</c:v>
                </c:pt>
                <c:pt idx="58">
                  <c:v>38</c:v>
                </c:pt>
                <c:pt idx="59">
                  <c:v>57</c:v>
                </c:pt>
                <c:pt idx="60">
                  <c:v>45</c:v>
                </c:pt>
                <c:pt idx="61">
                  <c:v>56</c:v>
                </c:pt>
                <c:pt idx="62">
                  <c:v>40</c:v>
                </c:pt>
                <c:pt idx="63">
                  <c:v>50</c:v>
                </c:pt>
                <c:pt idx="64">
                  <c:v>24</c:v>
                </c:pt>
                <c:pt idx="65">
                  <c:v>15</c:v>
                </c:pt>
                <c:pt idx="66">
                  <c:v>45</c:v>
                </c:pt>
                <c:pt idx="67">
                  <c:v>40</c:v>
                </c:pt>
                <c:pt idx="68">
                  <c:v>30</c:v>
                </c:pt>
                <c:pt idx="69">
                  <c:v>30</c:v>
                </c:pt>
                <c:pt idx="70">
                  <c:v>33</c:v>
                </c:pt>
                <c:pt idx="71">
                  <c:v>19</c:v>
                </c:pt>
                <c:pt idx="72">
                  <c:v>11</c:v>
                </c:pt>
                <c:pt idx="73">
                  <c:v>28</c:v>
                </c:pt>
                <c:pt idx="74">
                  <c:v>25</c:v>
                </c:pt>
                <c:pt idx="75">
                  <c:v>24</c:v>
                </c:pt>
                <c:pt idx="76">
                  <c:v>16</c:v>
                </c:pt>
                <c:pt idx="77">
                  <c:v>22</c:v>
                </c:pt>
                <c:pt idx="78">
                  <c:v>19</c:v>
                </c:pt>
                <c:pt idx="79">
                  <c:v>15</c:v>
                </c:pt>
                <c:pt idx="80">
                  <c:v>27</c:v>
                </c:pt>
                <c:pt idx="81">
                  <c:v>27</c:v>
                </c:pt>
                <c:pt idx="82">
                  <c:v>21</c:v>
                </c:pt>
                <c:pt idx="83">
                  <c:v>23</c:v>
                </c:pt>
                <c:pt idx="84">
                  <c:v>4</c:v>
                </c:pt>
                <c:pt idx="85">
                  <c:v>11</c:v>
                </c:pt>
                <c:pt idx="86">
                  <c:v>8</c:v>
                </c:pt>
                <c:pt idx="87">
                  <c:v>25</c:v>
                </c:pt>
                <c:pt idx="88">
                  <c:v>32</c:v>
                </c:pt>
                <c:pt idx="89">
                  <c:v>23</c:v>
                </c:pt>
                <c:pt idx="90">
                  <c:v>20</c:v>
                </c:pt>
                <c:pt idx="91">
                  <c:v>19</c:v>
                </c:pt>
                <c:pt idx="92">
                  <c:v>6</c:v>
                </c:pt>
                <c:pt idx="93">
                  <c:v>24</c:v>
                </c:pt>
                <c:pt idx="94">
                  <c:v>33</c:v>
                </c:pt>
                <c:pt idx="95">
                  <c:v>26</c:v>
                </c:pt>
                <c:pt idx="96">
                  <c:v>20</c:v>
                </c:pt>
                <c:pt idx="97">
                  <c:v>25</c:v>
                </c:pt>
                <c:pt idx="98">
                  <c:v>18</c:v>
                </c:pt>
                <c:pt idx="99">
                  <c:v>17</c:v>
                </c:pt>
                <c:pt idx="100">
                  <c:v>13</c:v>
                </c:pt>
                <c:pt idx="101">
                  <c:v>32</c:v>
                </c:pt>
                <c:pt idx="102">
                  <c:v>46</c:v>
                </c:pt>
                <c:pt idx="103">
                  <c:v>70</c:v>
                </c:pt>
                <c:pt idx="104">
                  <c:v>38</c:v>
                </c:pt>
                <c:pt idx="105">
                  <c:v>45</c:v>
                </c:pt>
                <c:pt idx="106">
                  <c:v>31</c:v>
                </c:pt>
                <c:pt idx="107">
                  <c:v>41</c:v>
                </c:pt>
                <c:pt idx="108">
                  <c:v>109</c:v>
                </c:pt>
                <c:pt idx="109">
                  <c:v>86</c:v>
                </c:pt>
                <c:pt idx="110">
                  <c:v>113</c:v>
                </c:pt>
                <c:pt idx="111">
                  <c:v>109</c:v>
                </c:pt>
                <c:pt idx="112">
                  <c:v>88</c:v>
                </c:pt>
                <c:pt idx="113">
                  <c:v>57</c:v>
                </c:pt>
                <c:pt idx="114">
                  <c:v>70</c:v>
                </c:pt>
                <c:pt idx="115">
                  <c:v>175</c:v>
                </c:pt>
                <c:pt idx="116">
                  <c:v>155</c:v>
                </c:pt>
                <c:pt idx="117">
                  <c:v>167</c:v>
                </c:pt>
                <c:pt idx="118">
                  <c:v>121</c:v>
                </c:pt>
                <c:pt idx="119">
                  <c:v>149</c:v>
                </c:pt>
                <c:pt idx="120">
                  <c:v>58</c:v>
                </c:pt>
                <c:pt idx="121">
                  <c:v>100</c:v>
                </c:pt>
                <c:pt idx="122">
                  <c:v>166</c:v>
                </c:pt>
                <c:pt idx="123">
                  <c:v>191</c:v>
                </c:pt>
                <c:pt idx="124">
                  <c:v>144</c:v>
                </c:pt>
                <c:pt idx="125">
                  <c:v>123</c:v>
                </c:pt>
                <c:pt idx="126">
                  <c:v>113</c:v>
                </c:pt>
                <c:pt idx="127">
                  <c:v>74</c:v>
                </c:pt>
                <c:pt idx="128">
                  <c:v>51</c:v>
                </c:pt>
                <c:pt idx="129">
                  <c:v>124</c:v>
                </c:pt>
                <c:pt idx="130">
                  <c:v>113</c:v>
                </c:pt>
                <c:pt idx="131">
                  <c:v>91</c:v>
                </c:pt>
                <c:pt idx="132">
                  <c:v>89</c:v>
                </c:pt>
                <c:pt idx="133">
                  <c:v>88</c:v>
                </c:pt>
                <c:pt idx="134">
                  <c:v>42</c:v>
                </c:pt>
                <c:pt idx="135">
                  <c:v>39</c:v>
                </c:pt>
                <c:pt idx="136">
                  <c:v>126</c:v>
                </c:pt>
                <c:pt idx="137">
                  <c:v>81</c:v>
                </c:pt>
                <c:pt idx="138">
                  <c:v>77</c:v>
                </c:pt>
                <c:pt idx="139">
                  <c:v>60</c:v>
                </c:pt>
                <c:pt idx="140">
                  <c:v>60</c:v>
                </c:pt>
                <c:pt idx="141">
                  <c:v>37</c:v>
                </c:pt>
                <c:pt idx="142">
                  <c:v>33</c:v>
                </c:pt>
                <c:pt idx="143">
                  <c:v>66</c:v>
                </c:pt>
                <c:pt idx="144">
                  <c:v>51</c:v>
                </c:pt>
                <c:pt idx="145">
                  <c:v>49</c:v>
                </c:pt>
                <c:pt idx="146">
                  <c:v>44</c:v>
                </c:pt>
                <c:pt idx="147">
                  <c:v>37</c:v>
                </c:pt>
                <c:pt idx="148">
                  <c:v>28</c:v>
                </c:pt>
                <c:pt idx="149">
                  <c:v>31</c:v>
                </c:pt>
                <c:pt idx="150">
                  <c:v>67</c:v>
                </c:pt>
                <c:pt idx="151">
                  <c:v>42</c:v>
                </c:pt>
                <c:pt idx="152">
                  <c:v>54</c:v>
                </c:pt>
                <c:pt idx="153">
                  <c:v>41</c:v>
                </c:pt>
                <c:pt idx="154">
                  <c:v>39</c:v>
                </c:pt>
                <c:pt idx="155">
                  <c:v>28</c:v>
                </c:pt>
                <c:pt idx="156">
                  <c:v>23</c:v>
                </c:pt>
                <c:pt idx="157">
                  <c:v>75</c:v>
                </c:pt>
                <c:pt idx="158">
                  <c:v>59</c:v>
                </c:pt>
                <c:pt idx="159">
                  <c:v>51</c:v>
                </c:pt>
                <c:pt idx="160">
                  <c:v>43</c:v>
                </c:pt>
                <c:pt idx="161">
                  <c:v>37</c:v>
                </c:pt>
                <c:pt idx="162">
                  <c:v>20</c:v>
                </c:pt>
                <c:pt idx="163">
                  <c:v>27</c:v>
                </c:pt>
                <c:pt idx="164">
                  <c:v>77</c:v>
                </c:pt>
                <c:pt idx="165">
                  <c:v>50</c:v>
                </c:pt>
                <c:pt idx="166">
                  <c:v>52</c:v>
                </c:pt>
                <c:pt idx="167">
                  <c:v>44</c:v>
                </c:pt>
                <c:pt idx="168">
                  <c:v>37</c:v>
                </c:pt>
                <c:pt idx="169">
                  <c:v>13</c:v>
                </c:pt>
                <c:pt idx="170">
                  <c:v>17</c:v>
                </c:pt>
                <c:pt idx="171">
                  <c:v>84</c:v>
                </c:pt>
                <c:pt idx="172">
                  <c:v>61</c:v>
                </c:pt>
                <c:pt idx="173">
                  <c:v>42</c:v>
                </c:pt>
                <c:pt idx="174">
                  <c:v>53</c:v>
                </c:pt>
                <c:pt idx="175">
                  <c:v>34</c:v>
                </c:pt>
                <c:pt idx="176">
                  <c:v>17</c:v>
                </c:pt>
                <c:pt idx="177">
                  <c:v>25</c:v>
                </c:pt>
                <c:pt idx="178">
                  <c:v>53</c:v>
                </c:pt>
                <c:pt idx="179">
                  <c:v>60</c:v>
                </c:pt>
                <c:pt idx="180">
                  <c:v>55</c:v>
                </c:pt>
                <c:pt idx="181">
                  <c:v>45</c:v>
                </c:pt>
                <c:pt idx="182">
                  <c:v>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5.3261617930248735E-3"/>
                  <c:y val="-2.331269142410825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4283177984905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1.10.21</c:v>
                </c:pt>
                <c:pt idx="1">
                  <c:v>02.10.21</c:v>
                </c:pt>
                <c:pt idx="2">
                  <c:v>03.10.21</c:v>
                </c:pt>
                <c:pt idx="3">
                  <c:v>04.10.21</c:v>
                </c:pt>
                <c:pt idx="4">
                  <c:v>05.10.21</c:v>
                </c:pt>
                <c:pt idx="5">
                  <c:v>06.10.21</c:v>
                </c:pt>
                <c:pt idx="6">
                  <c:v>07.10.21</c:v>
                </c:pt>
                <c:pt idx="7">
                  <c:v>08.10.21</c:v>
                </c:pt>
                <c:pt idx="8">
                  <c:v>09.10.21</c:v>
                </c:pt>
                <c:pt idx="9">
                  <c:v>10.10.21</c:v>
                </c:pt>
                <c:pt idx="10">
                  <c:v>11.10.21</c:v>
                </c:pt>
                <c:pt idx="11">
                  <c:v>12.10.21</c:v>
                </c:pt>
                <c:pt idx="12">
                  <c:v>13.10.21</c:v>
                </c:pt>
                <c:pt idx="13">
                  <c:v>14.10.21</c:v>
                </c:pt>
                <c:pt idx="14">
                  <c:v>15.10.21</c:v>
                </c:pt>
                <c:pt idx="15">
                  <c:v>16.10.21</c:v>
                </c:pt>
                <c:pt idx="16">
                  <c:v>17.10.21</c:v>
                </c:pt>
                <c:pt idx="17">
                  <c:v>18.10.21</c:v>
                </c:pt>
                <c:pt idx="18">
                  <c:v>19.10.21</c:v>
                </c:pt>
                <c:pt idx="19">
                  <c:v>20.10.21</c:v>
                </c:pt>
                <c:pt idx="20">
                  <c:v>21.10.21</c:v>
                </c:pt>
                <c:pt idx="21">
                  <c:v>22.10.21</c:v>
                </c:pt>
                <c:pt idx="22">
                  <c:v>23.10.21</c:v>
                </c:pt>
                <c:pt idx="23">
                  <c:v>24.10.21</c:v>
                </c:pt>
                <c:pt idx="24">
                  <c:v>25.10.21</c:v>
                </c:pt>
                <c:pt idx="25">
                  <c:v>26.10.21</c:v>
                </c:pt>
                <c:pt idx="26">
                  <c:v>27.10.21</c:v>
                </c:pt>
                <c:pt idx="27">
                  <c:v>28.10.21</c:v>
                </c:pt>
                <c:pt idx="28">
                  <c:v>29.10.21</c:v>
                </c:pt>
                <c:pt idx="29">
                  <c:v>30.10.21</c:v>
                </c:pt>
                <c:pt idx="30">
                  <c:v>31.10.21</c:v>
                </c:pt>
                <c:pt idx="31">
                  <c:v>01.11.21</c:v>
                </c:pt>
                <c:pt idx="32">
                  <c:v>02.11.21</c:v>
                </c:pt>
                <c:pt idx="33">
                  <c:v>03.11.21</c:v>
                </c:pt>
                <c:pt idx="34">
                  <c:v>04.11.21</c:v>
                </c:pt>
                <c:pt idx="35">
                  <c:v>05.11.21</c:v>
                </c:pt>
                <c:pt idx="36">
                  <c:v>06.11.21</c:v>
                </c:pt>
                <c:pt idx="37">
                  <c:v>07.11.21</c:v>
                </c:pt>
                <c:pt idx="38">
                  <c:v>08.11.21</c:v>
                </c:pt>
                <c:pt idx="39">
                  <c:v>09.11.21</c:v>
                </c:pt>
                <c:pt idx="40">
                  <c:v>10.11.21</c:v>
                </c:pt>
                <c:pt idx="41">
                  <c:v>11.11.21</c:v>
                </c:pt>
                <c:pt idx="42">
                  <c:v>12.11.21</c:v>
                </c:pt>
                <c:pt idx="43">
                  <c:v>13.11.21</c:v>
                </c:pt>
                <c:pt idx="44">
                  <c:v>14.11.21</c:v>
                </c:pt>
                <c:pt idx="45">
                  <c:v>15.11.21</c:v>
                </c:pt>
                <c:pt idx="46">
                  <c:v>16.11.21</c:v>
                </c:pt>
                <c:pt idx="47">
                  <c:v>17.11.21</c:v>
                </c:pt>
                <c:pt idx="48">
                  <c:v>18.11.21</c:v>
                </c:pt>
                <c:pt idx="49">
                  <c:v>19.11.21</c:v>
                </c:pt>
                <c:pt idx="50">
                  <c:v>20.11.21</c:v>
                </c:pt>
                <c:pt idx="51">
                  <c:v>21.11.21</c:v>
                </c:pt>
                <c:pt idx="52">
                  <c:v>22.11.21</c:v>
                </c:pt>
                <c:pt idx="53">
                  <c:v>23.11.21</c:v>
                </c:pt>
                <c:pt idx="54">
                  <c:v>24.11.21</c:v>
                </c:pt>
                <c:pt idx="55">
                  <c:v>25.11.21</c:v>
                </c:pt>
                <c:pt idx="56">
                  <c:v>26.11.21</c:v>
                </c:pt>
                <c:pt idx="57">
                  <c:v>27.11.21</c:v>
                </c:pt>
                <c:pt idx="58">
                  <c:v>28.11.21</c:v>
                </c:pt>
                <c:pt idx="59">
                  <c:v>29.11.21</c:v>
                </c:pt>
                <c:pt idx="60">
                  <c:v>30.11.21</c:v>
                </c:pt>
                <c:pt idx="61">
                  <c:v>01.12.21</c:v>
                </c:pt>
                <c:pt idx="62">
                  <c:v>02.12.21</c:v>
                </c:pt>
                <c:pt idx="63">
                  <c:v>03.12.21</c:v>
                </c:pt>
                <c:pt idx="64">
                  <c:v>04.12.21</c:v>
                </c:pt>
                <c:pt idx="65">
                  <c:v>05.12.21</c:v>
                </c:pt>
                <c:pt idx="66">
                  <c:v>06.12.21</c:v>
                </c:pt>
                <c:pt idx="67">
                  <c:v>07.12.21</c:v>
                </c:pt>
                <c:pt idx="68">
                  <c:v>08.12.21</c:v>
                </c:pt>
                <c:pt idx="69">
                  <c:v>09.12.21</c:v>
                </c:pt>
                <c:pt idx="70">
                  <c:v>10.12.21</c:v>
                </c:pt>
                <c:pt idx="71">
                  <c:v>11.12.21</c:v>
                </c:pt>
                <c:pt idx="72">
                  <c:v>12.12.21</c:v>
                </c:pt>
                <c:pt idx="73">
                  <c:v>13.12.21</c:v>
                </c:pt>
                <c:pt idx="74">
                  <c:v>14.12.21</c:v>
                </c:pt>
                <c:pt idx="75">
                  <c:v>15.12.21</c:v>
                </c:pt>
                <c:pt idx="76">
                  <c:v>16.12.21</c:v>
                </c:pt>
                <c:pt idx="77">
                  <c:v>17.12.21</c:v>
                </c:pt>
                <c:pt idx="78">
                  <c:v>18.12.21</c:v>
                </c:pt>
                <c:pt idx="79">
                  <c:v>19.12.21</c:v>
                </c:pt>
                <c:pt idx="80">
                  <c:v>20.12.21</c:v>
                </c:pt>
                <c:pt idx="81">
                  <c:v>21.12.21</c:v>
                </c:pt>
                <c:pt idx="82">
                  <c:v>22.12.21</c:v>
                </c:pt>
                <c:pt idx="83">
                  <c:v>23.12.21</c:v>
                </c:pt>
                <c:pt idx="84">
                  <c:v>24.12.21</c:v>
                </c:pt>
                <c:pt idx="85">
                  <c:v>25.12.21</c:v>
                </c:pt>
                <c:pt idx="86">
                  <c:v>26.12.21</c:v>
                </c:pt>
                <c:pt idx="87">
                  <c:v>27.12.21</c:v>
                </c:pt>
                <c:pt idx="88">
                  <c:v>28.12.21</c:v>
                </c:pt>
                <c:pt idx="89">
                  <c:v>29.12.21</c:v>
                </c:pt>
                <c:pt idx="90">
                  <c:v>30.12.21</c:v>
                </c:pt>
                <c:pt idx="91">
                  <c:v>31.12.21</c:v>
                </c:pt>
                <c:pt idx="92">
                  <c:v>01.01.22</c:v>
                </c:pt>
                <c:pt idx="93">
                  <c:v>02.01.22</c:v>
                </c:pt>
                <c:pt idx="94">
                  <c:v>03.01.22</c:v>
                </c:pt>
                <c:pt idx="95">
                  <c:v>04.01.22</c:v>
                </c:pt>
                <c:pt idx="96">
                  <c:v>05.01.22</c:v>
                </c:pt>
                <c:pt idx="97">
                  <c:v>06.01.22</c:v>
                </c:pt>
                <c:pt idx="98">
                  <c:v>07.01.22</c:v>
                </c:pt>
                <c:pt idx="99">
                  <c:v>08.01.22</c:v>
                </c:pt>
                <c:pt idx="100">
                  <c:v>09.01.22</c:v>
                </c:pt>
                <c:pt idx="101">
                  <c:v>10.01.22</c:v>
                </c:pt>
                <c:pt idx="102">
                  <c:v>11.01.22</c:v>
                </c:pt>
                <c:pt idx="103">
                  <c:v>12.01.22</c:v>
                </c:pt>
                <c:pt idx="104">
                  <c:v>13.01.22</c:v>
                </c:pt>
                <c:pt idx="105">
                  <c:v>14.01.22</c:v>
                </c:pt>
                <c:pt idx="106">
                  <c:v>15.01.22</c:v>
                </c:pt>
                <c:pt idx="107">
                  <c:v>16.01.22</c:v>
                </c:pt>
                <c:pt idx="108">
                  <c:v>17.01.22</c:v>
                </c:pt>
                <c:pt idx="109">
                  <c:v>18.01.22</c:v>
                </c:pt>
                <c:pt idx="110">
                  <c:v>19.01.22</c:v>
                </c:pt>
                <c:pt idx="111">
                  <c:v>20.01.22</c:v>
                </c:pt>
                <c:pt idx="112">
                  <c:v>21.01.22</c:v>
                </c:pt>
                <c:pt idx="113">
                  <c:v>22.01.22</c:v>
                </c:pt>
                <c:pt idx="114">
                  <c:v>23.01.22</c:v>
                </c:pt>
                <c:pt idx="115">
                  <c:v>24.01.22</c:v>
                </c:pt>
                <c:pt idx="116">
                  <c:v>25.01.22</c:v>
                </c:pt>
                <c:pt idx="117">
                  <c:v>26.01.22</c:v>
                </c:pt>
                <c:pt idx="118">
                  <c:v>27.01.22</c:v>
                </c:pt>
                <c:pt idx="119">
                  <c:v>28.01.22</c:v>
                </c:pt>
                <c:pt idx="120">
                  <c:v>29.01.22</c:v>
                </c:pt>
                <c:pt idx="121">
                  <c:v>30.01.22</c:v>
                </c:pt>
                <c:pt idx="122">
                  <c:v>31.01.22</c:v>
                </c:pt>
                <c:pt idx="123">
                  <c:v>01.02.22</c:v>
                </c:pt>
                <c:pt idx="124">
                  <c:v>02.02.22</c:v>
                </c:pt>
                <c:pt idx="125">
                  <c:v>03.02.22</c:v>
                </c:pt>
                <c:pt idx="126">
                  <c:v>04.02.22</c:v>
                </c:pt>
                <c:pt idx="127">
                  <c:v>05.02.22</c:v>
                </c:pt>
                <c:pt idx="128">
                  <c:v>06.02.22</c:v>
                </c:pt>
                <c:pt idx="129">
                  <c:v>07.02.22</c:v>
                </c:pt>
                <c:pt idx="130">
                  <c:v>08.02.22</c:v>
                </c:pt>
                <c:pt idx="131">
                  <c:v>09.02.22</c:v>
                </c:pt>
                <c:pt idx="132">
                  <c:v>10.02.22</c:v>
                </c:pt>
                <c:pt idx="133">
                  <c:v>11.02.22</c:v>
                </c:pt>
                <c:pt idx="134">
                  <c:v>12.02.22</c:v>
                </c:pt>
                <c:pt idx="135">
                  <c:v>13.02.22</c:v>
                </c:pt>
                <c:pt idx="136">
                  <c:v>14.02.22</c:v>
                </c:pt>
                <c:pt idx="137">
                  <c:v>15.02.22</c:v>
                </c:pt>
                <c:pt idx="138">
                  <c:v>16.02.22</c:v>
                </c:pt>
                <c:pt idx="139">
                  <c:v>17.02.22</c:v>
                </c:pt>
                <c:pt idx="140">
                  <c:v>18.02.22</c:v>
                </c:pt>
                <c:pt idx="141">
                  <c:v>19.02.22</c:v>
                </c:pt>
                <c:pt idx="142">
                  <c:v>20.02.22</c:v>
                </c:pt>
                <c:pt idx="143">
                  <c:v>21.02.22</c:v>
                </c:pt>
                <c:pt idx="144">
                  <c:v>22.02.22</c:v>
                </c:pt>
                <c:pt idx="145">
                  <c:v>23.02.22</c:v>
                </c:pt>
                <c:pt idx="146">
                  <c:v>24.02.22</c:v>
                </c:pt>
                <c:pt idx="147">
                  <c:v>25.02.22</c:v>
                </c:pt>
                <c:pt idx="148">
                  <c:v>26.02.22</c:v>
                </c:pt>
                <c:pt idx="149">
                  <c:v>27.02.22</c:v>
                </c:pt>
                <c:pt idx="150">
                  <c:v>28.02.22</c:v>
                </c:pt>
                <c:pt idx="151">
                  <c:v>01.03.22</c:v>
                </c:pt>
                <c:pt idx="152">
                  <c:v>02.03.22</c:v>
                </c:pt>
                <c:pt idx="153">
                  <c:v>03.03.22</c:v>
                </c:pt>
                <c:pt idx="154">
                  <c:v>04.03.22</c:v>
                </c:pt>
                <c:pt idx="155">
                  <c:v>05.03.22</c:v>
                </c:pt>
                <c:pt idx="156">
                  <c:v>06.03.22</c:v>
                </c:pt>
                <c:pt idx="157">
                  <c:v>07.03.22</c:v>
                </c:pt>
                <c:pt idx="158">
                  <c:v>08.03.22</c:v>
                </c:pt>
                <c:pt idx="159">
                  <c:v>09.03.22</c:v>
                </c:pt>
                <c:pt idx="160">
                  <c:v>10.03.22</c:v>
                </c:pt>
                <c:pt idx="161">
                  <c:v>11.03.22</c:v>
                </c:pt>
                <c:pt idx="162">
                  <c:v>12.03.22</c:v>
                </c:pt>
                <c:pt idx="163">
                  <c:v>13.03.22</c:v>
                </c:pt>
                <c:pt idx="164">
                  <c:v>14.03.22</c:v>
                </c:pt>
                <c:pt idx="165">
                  <c:v>15.03.22</c:v>
                </c:pt>
                <c:pt idx="166">
                  <c:v>16.03.22</c:v>
                </c:pt>
                <c:pt idx="167">
                  <c:v>17.03.22</c:v>
                </c:pt>
                <c:pt idx="168">
                  <c:v>18.03.22</c:v>
                </c:pt>
                <c:pt idx="169">
                  <c:v>19.03.22</c:v>
                </c:pt>
                <c:pt idx="170">
                  <c:v>20.03.22</c:v>
                </c:pt>
                <c:pt idx="171">
                  <c:v>21.03.22</c:v>
                </c:pt>
                <c:pt idx="172">
                  <c:v>22.03.22</c:v>
                </c:pt>
                <c:pt idx="173">
                  <c:v>23.03.22</c:v>
                </c:pt>
                <c:pt idx="174">
                  <c:v>24.03.22</c:v>
                </c:pt>
                <c:pt idx="175">
                  <c:v>25.03.22</c:v>
                </c:pt>
                <c:pt idx="176">
                  <c:v>26.03.22</c:v>
                </c:pt>
                <c:pt idx="177">
                  <c:v>27.03.22</c:v>
                </c:pt>
                <c:pt idx="178">
                  <c:v>28.03.22</c:v>
                </c:pt>
                <c:pt idx="179">
                  <c:v>29.03.22</c:v>
                </c:pt>
                <c:pt idx="180">
                  <c:v>30.03.22</c:v>
                </c:pt>
                <c:pt idx="181">
                  <c:v>31.03.22</c:v>
                </c:pt>
                <c:pt idx="182">
                  <c:v>01.04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7</c:v>
                </c:pt>
                <c:pt idx="1">
                  <c:v>5</c:v>
                </c:pt>
                <c:pt idx="2">
                  <c:v>8</c:v>
                </c:pt>
                <c:pt idx="3">
                  <c:v>10</c:v>
                </c:pt>
                <c:pt idx="4">
                  <c:v>13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5</c:v>
                </c:pt>
                <c:pt idx="9">
                  <c:v>4</c:v>
                </c:pt>
                <c:pt idx="10">
                  <c:v>17</c:v>
                </c:pt>
                <c:pt idx="11">
                  <c:v>17</c:v>
                </c:pt>
                <c:pt idx="12">
                  <c:v>20</c:v>
                </c:pt>
                <c:pt idx="13">
                  <c:v>19</c:v>
                </c:pt>
                <c:pt idx="14">
                  <c:v>17</c:v>
                </c:pt>
                <c:pt idx="15">
                  <c:v>10</c:v>
                </c:pt>
                <c:pt idx="16">
                  <c:v>10</c:v>
                </c:pt>
                <c:pt idx="17">
                  <c:v>32</c:v>
                </c:pt>
                <c:pt idx="18">
                  <c:v>24</c:v>
                </c:pt>
                <c:pt idx="19">
                  <c:v>25</c:v>
                </c:pt>
                <c:pt idx="20">
                  <c:v>49</c:v>
                </c:pt>
                <c:pt idx="21">
                  <c:v>38</c:v>
                </c:pt>
                <c:pt idx="22">
                  <c:v>31</c:v>
                </c:pt>
                <c:pt idx="23">
                  <c:v>12</c:v>
                </c:pt>
                <c:pt idx="24">
                  <c:v>58</c:v>
                </c:pt>
                <c:pt idx="25">
                  <c:v>63</c:v>
                </c:pt>
                <c:pt idx="26">
                  <c:v>69</c:v>
                </c:pt>
                <c:pt idx="27">
                  <c:v>30</c:v>
                </c:pt>
                <c:pt idx="28">
                  <c:v>77</c:v>
                </c:pt>
                <c:pt idx="29">
                  <c:v>55</c:v>
                </c:pt>
                <c:pt idx="30">
                  <c:v>37</c:v>
                </c:pt>
                <c:pt idx="31">
                  <c:v>103</c:v>
                </c:pt>
                <c:pt idx="32">
                  <c:v>99</c:v>
                </c:pt>
                <c:pt idx="33">
                  <c:v>106</c:v>
                </c:pt>
                <c:pt idx="34">
                  <c:v>96</c:v>
                </c:pt>
                <c:pt idx="35">
                  <c:v>104</c:v>
                </c:pt>
                <c:pt idx="36">
                  <c:v>79</c:v>
                </c:pt>
                <c:pt idx="37">
                  <c:v>24</c:v>
                </c:pt>
                <c:pt idx="38">
                  <c:v>121</c:v>
                </c:pt>
                <c:pt idx="39">
                  <c:v>132</c:v>
                </c:pt>
                <c:pt idx="40">
                  <c:v>164</c:v>
                </c:pt>
                <c:pt idx="41">
                  <c:v>92</c:v>
                </c:pt>
                <c:pt idx="42">
                  <c:v>151</c:v>
                </c:pt>
                <c:pt idx="43">
                  <c:v>87</c:v>
                </c:pt>
                <c:pt idx="44">
                  <c:v>52</c:v>
                </c:pt>
                <c:pt idx="45">
                  <c:v>145</c:v>
                </c:pt>
                <c:pt idx="46">
                  <c:v>213</c:v>
                </c:pt>
                <c:pt idx="47">
                  <c:v>107</c:v>
                </c:pt>
                <c:pt idx="48">
                  <c:v>154</c:v>
                </c:pt>
                <c:pt idx="49">
                  <c:v>210</c:v>
                </c:pt>
                <c:pt idx="50">
                  <c:v>146</c:v>
                </c:pt>
                <c:pt idx="51">
                  <c:v>78</c:v>
                </c:pt>
                <c:pt idx="52">
                  <c:v>177</c:v>
                </c:pt>
                <c:pt idx="53">
                  <c:v>236</c:v>
                </c:pt>
                <c:pt idx="54">
                  <c:v>126</c:v>
                </c:pt>
                <c:pt idx="55">
                  <c:v>199</c:v>
                </c:pt>
                <c:pt idx="56">
                  <c:v>173</c:v>
                </c:pt>
                <c:pt idx="57">
                  <c:v>99</c:v>
                </c:pt>
                <c:pt idx="58">
                  <c:v>74</c:v>
                </c:pt>
                <c:pt idx="59">
                  <c:v>192</c:v>
                </c:pt>
                <c:pt idx="60">
                  <c:v>151</c:v>
                </c:pt>
                <c:pt idx="61">
                  <c:v>157</c:v>
                </c:pt>
                <c:pt idx="62">
                  <c:v>138</c:v>
                </c:pt>
                <c:pt idx="63">
                  <c:v>126</c:v>
                </c:pt>
                <c:pt idx="64">
                  <c:v>77</c:v>
                </c:pt>
                <c:pt idx="65">
                  <c:v>61</c:v>
                </c:pt>
                <c:pt idx="66">
                  <c:v>151</c:v>
                </c:pt>
                <c:pt idx="67">
                  <c:v>143</c:v>
                </c:pt>
                <c:pt idx="68">
                  <c:v>107</c:v>
                </c:pt>
                <c:pt idx="69">
                  <c:v>116</c:v>
                </c:pt>
                <c:pt idx="70">
                  <c:v>104</c:v>
                </c:pt>
                <c:pt idx="71">
                  <c:v>69</c:v>
                </c:pt>
                <c:pt idx="72">
                  <c:v>50</c:v>
                </c:pt>
                <c:pt idx="73">
                  <c:v>95</c:v>
                </c:pt>
                <c:pt idx="74">
                  <c:v>112</c:v>
                </c:pt>
                <c:pt idx="75">
                  <c:v>78</c:v>
                </c:pt>
                <c:pt idx="76">
                  <c:v>61</c:v>
                </c:pt>
                <c:pt idx="77">
                  <c:v>71</c:v>
                </c:pt>
                <c:pt idx="78">
                  <c:v>44</c:v>
                </c:pt>
                <c:pt idx="79">
                  <c:v>30</c:v>
                </c:pt>
                <c:pt idx="80">
                  <c:v>82</c:v>
                </c:pt>
                <c:pt idx="81">
                  <c:v>74</c:v>
                </c:pt>
                <c:pt idx="82">
                  <c:v>50</c:v>
                </c:pt>
                <c:pt idx="83">
                  <c:v>54</c:v>
                </c:pt>
                <c:pt idx="84">
                  <c:v>17</c:v>
                </c:pt>
                <c:pt idx="85">
                  <c:v>18</c:v>
                </c:pt>
                <c:pt idx="86">
                  <c:v>17</c:v>
                </c:pt>
                <c:pt idx="87">
                  <c:v>71</c:v>
                </c:pt>
                <c:pt idx="88">
                  <c:v>86</c:v>
                </c:pt>
                <c:pt idx="89">
                  <c:v>50</c:v>
                </c:pt>
                <c:pt idx="90">
                  <c:v>45</c:v>
                </c:pt>
                <c:pt idx="91">
                  <c:v>44</c:v>
                </c:pt>
                <c:pt idx="92">
                  <c:v>10</c:v>
                </c:pt>
                <c:pt idx="93">
                  <c:v>32</c:v>
                </c:pt>
                <c:pt idx="94">
                  <c:v>82</c:v>
                </c:pt>
                <c:pt idx="95">
                  <c:v>67</c:v>
                </c:pt>
                <c:pt idx="96">
                  <c:v>44</c:v>
                </c:pt>
                <c:pt idx="97">
                  <c:v>49</c:v>
                </c:pt>
                <c:pt idx="98">
                  <c:v>56</c:v>
                </c:pt>
                <c:pt idx="99">
                  <c:v>32</c:v>
                </c:pt>
                <c:pt idx="100">
                  <c:v>22</c:v>
                </c:pt>
                <c:pt idx="101">
                  <c:v>59</c:v>
                </c:pt>
                <c:pt idx="102">
                  <c:v>89</c:v>
                </c:pt>
                <c:pt idx="103">
                  <c:v>79</c:v>
                </c:pt>
                <c:pt idx="104">
                  <c:v>77</c:v>
                </c:pt>
                <c:pt idx="105">
                  <c:v>77</c:v>
                </c:pt>
                <c:pt idx="106">
                  <c:v>73</c:v>
                </c:pt>
                <c:pt idx="107">
                  <c:v>43</c:v>
                </c:pt>
                <c:pt idx="108">
                  <c:v>179</c:v>
                </c:pt>
                <c:pt idx="109">
                  <c:v>196</c:v>
                </c:pt>
                <c:pt idx="110">
                  <c:v>186</c:v>
                </c:pt>
                <c:pt idx="111">
                  <c:v>202</c:v>
                </c:pt>
                <c:pt idx="112">
                  <c:v>248</c:v>
                </c:pt>
                <c:pt idx="113">
                  <c:v>132</c:v>
                </c:pt>
                <c:pt idx="114">
                  <c:v>110</c:v>
                </c:pt>
                <c:pt idx="115">
                  <c:v>324</c:v>
                </c:pt>
                <c:pt idx="116">
                  <c:v>325</c:v>
                </c:pt>
                <c:pt idx="117">
                  <c:v>408</c:v>
                </c:pt>
                <c:pt idx="118">
                  <c:v>339</c:v>
                </c:pt>
                <c:pt idx="119">
                  <c:v>423</c:v>
                </c:pt>
                <c:pt idx="120">
                  <c:v>148</c:v>
                </c:pt>
                <c:pt idx="121">
                  <c:v>212</c:v>
                </c:pt>
                <c:pt idx="122">
                  <c:v>457</c:v>
                </c:pt>
                <c:pt idx="123">
                  <c:v>488</c:v>
                </c:pt>
                <c:pt idx="124">
                  <c:v>392</c:v>
                </c:pt>
                <c:pt idx="125">
                  <c:v>358</c:v>
                </c:pt>
                <c:pt idx="126">
                  <c:v>283</c:v>
                </c:pt>
                <c:pt idx="127">
                  <c:v>232</c:v>
                </c:pt>
                <c:pt idx="128">
                  <c:v>123</c:v>
                </c:pt>
                <c:pt idx="129">
                  <c:v>418</c:v>
                </c:pt>
                <c:pt idx="130">
                  <c:v>382</c:v>
                </c:pt>
                <c:pt idx="131">
                  <c:v>301</c:v>
                </c:pt>
                <c:pt idx="132">
                  <c:v>262</c:v>
                </c:pt>
                <c:pt idx="133">
                  <c:v>233</c:v>
                </c:pt>
                <c:pt idx="134">
                  <c:v>141</c:v>
                </c:pt>
                <c:pt idx="135">
                  <c:v>107</c:v>
                </c:pt>
                <c:pt idx="136">
                  <c:v>280</c:v>
                </c:pt>
                <c:pt idx="137">
                  <c:v>295</c:v>
                </c:pt>
                <c:pt idx="138">
                  <c:v>226</c:v>
                </c:pt>
                <c:pt idx="139">
                  <c:v>195</c:v>
                </c:pt>
                <c:pt idx="140">
                  <c:v>178</c:v>
                </c:pt>
                <c:pt idx="141">
                  <c:v>87</c:v>
                </c:pt>
                <c:pt idx="142">
                  <c:v>64</c:v>
                </c:pt>
                <c:pt idx="143">
                  <c:v>216</c:v>
                </c:pt>
                <c:pt idx="144">
                  <c:v>159</c:v>
                </c:pt>
                <c:pt idx="145">
                  <c:v>111</c:v>
                </c:pt>
                <c:pt idx="146">
                  <c:v>118</c:v>
                </c:pt>
                <c:pt idx="147">
                  <c:v>112</c:v>
                </c:pt>
                <c:pt idx="148">
                  <c:v>68</c:v>
                </c:pt>
                <c:pt idx="149">
                  <c:v>55</c:v>
                </c:pt>
                <c:pt idx="150">
                  <c:v>149</c:v>
                </c:pt>
                <c:pt idx="151">
                  <c:v>147</c:v>
                </c:pt>
                <c:pt idx="152">
                  <c:v>116</c:v>
                </c:pt>
                <c:pt idx="153">
                  <c:v>102</c:v>
                </c:pt>
                <c:pt idx="154">
                  <c:v>115</c:v>
                </c:pt>
                <c:pt idx="155">
                  <c:v>72</c:v>
                </c:pt>
                <c:pt idx="156">
                  <c:v>36</c:v>
                </c:pt>
                <c:pt idx="157">
                  <c:v>162</c:v>
                </c:pt>
                <c:pt idx="158">
                  <c:v>119</c:v>
                </c:pt>
                <c:pt idx="159">
                  <c:v>125</c:v>
                </c:pt>
                <c:pt idx="160">
                  <c:v>111</c:v>
                </c:pt>
                <c:pt idx="161">
                  <c:v>111</c:v>
                </c:pt>
                <c:pt idx="162">
                  <c:v>60</c:v>
                </c:pt>
                <c:pt idx="163">
                  <c:v>35</c:v>
                </c:pt>
                <c:pt idx="164">
                  <c:v>156</c:v>
                </c:pt>
                <c:pt idx="165">
                  <c:v>125</c:v>
                </c:pt>
                <c:pt idx="166">
                  <c:v>110</c:v>
                </c:pt>
                <c:pt idx="167">
                  <c:v>111</c:v>
                </c:pt>
                <c:pt idx="168">
                  <c:v>106</c:v>
                </c:pt>
                <c:pt idx="169">
                  <c:v>58</c:v>
                </c:pt>
                <c:pt idx="170">
                  <c:v>38</c:v>
                </c:pt>
                <c:pt idx="171">
                  <c:v>166</c:v>
                </c:pt>
                <c:pt idx="172">
                  <c:v>130</c:v>
                </c:pt>
                <c:pt idx="173">
                  <c:v>102</c:v>
                </c:pt>
                <c:pt idx="174">
                  <c:v>101</c:v>
                </c:pt>
                <c:pt idx="175">
                  <c:v>87</c:v>
                </c:pt>
                <c:pt idx="176">
                  <c:v>44</c:v>
                </c:pt>
                <c:pt idx="177">
                  <c:v>34</c:v>
                </c:pt>
                <c:pt idx="178">
                  <c:v>166</c:v>
                </c:pt>
                <c:pt idx="179">
                  <c:v>101</c:v>
                </c:pt>
                <c:pt idx="180">
                  <c:v>93</c:v>
                </c:pt>
                <c:pt idx="181">
                  <c:v>65</c:v>
                </c:pt>
                <c:pt idx="182">
                  <c:v>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821127385838E-3"/>
                  <c:y val="2.0981596668658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1.10.21</c:v>
                </c:pt>
                <c:pt idx="1">
                  <c:v>02.10.21</c:v>
                </c:pt>
                <c:pt idx="2">
                  <c:v>03.10.21</c:v>
                </c:pt>
                <c:pt idx="3">
                  <c:v>04.10.21</c:v>
                </c:pt>
                <c:pt idx="4">
                  <c:v>05.10.21</c:v>
                </c:pt>
                <c:pt idx="5">
                  <c:v>06.10.21</c:v>
                </c:pt>
                <c:pt idx="6">
                  <c:v>07.10.21</c:v>
                </c:pt>
                <c:pt idx="7">
                  <c:v>08.10.21</c:v>
                </c:pt>
                <c:pt idx="8">
                  <c:v>09.10.21</c:v>
                </c:pt>
                <c:pt idx="9">
                  <c:v>10.10.21</c:v>
                </c:pt>
                <c:pt idx="10">
                  <c:v>11.10.21</c:v>
                </c:pt>
                <c:pt idx="11">
                  <c:v>12.10.21</c:v>
                </c:pt>
                <c:pt idx="12">
                  <c:v>13.10.21</c:v>
                </c:pt>
                <c:pt idx="13">
                  <c:v>14.10.21</c:v>
                </c:pt>
                <c:pt idx="14">
                  <c:v>15.10.21</c:v>
                </c:pt>
                <c:pt idx="15">
                  <c:v>16.10.21</c:v>
                </c:pt>
                <c:pt idx="16">
                  <c:v>17.10.21</c:v>
                </c:pt>
                <c:pt idx="17">
                  <c:v>18.10.21</c:v>
                </c:pt>
                <c:pt idx="18">
                  <c:v>19.10.21</c:v>
                </c:pt>
                <c:pt idx="19">
                  <c:v>20.10.21</c:v>
                </c:pt>
                <c:pt idx="20">
                  <c:v>21.10.21</c:v>
                </c:pt>
                <c:pt idx="21">
                  <c:v>22.10.21</c:v>
                </c:pt>
                <c:pt idx="22">
                  <c:v>23.10.21</c:v>
                </c:pt>
                <c:pt idx="23">
                  <c:v>24.10.21</c:v>
                </c:pt>
                <c:pt idx="24">
                  <c:v>25.10.21</c:v>
                </c:pt>
                <c:pt idx="25">
                  <c:v>26.10.21</c:v>
                </c:pt>
                <c:pt idx="26">
                  <c:v>27.10.21</c:v>
                </c:pt>
                <c:pt idx="27">
                  <c:v>28.10.21</c:v>
                </c:pt>
                <c:pt idx="28">
                  <c:v>29.10.21</c:v>
                </c:pt>
                <c:pt idx="29">
                  <c:v>30.10.21</c:v>
                </c:pt>
                <c:pt idx="30">
                  <c:v>31.10.21</c:v>
                </c:pt>
                <c:pt idx="31">
                  <c:v>01.11.21</c:v>
                </c:pt>
                <c:pt idx="32">
                  <c:v>02.11.21</c:v>
                </c:pt>
                <c:pt idx="33">
                  <c:v>03.11.21</c:v>
                </c:pt>
                <c:pt idx="34">
                  <c:v>04.11.21</c:v>
                </c:pt>
                <c:pt idx="35">
                  <c:v>05.11.21</c:v>
                </c:pt>
                <c:pt idx="36">
                  <c:v>06.11.21</c:v>
                </c:pt>
                <c:pt idx="37">
                  <c:v>07.11.21</c:v>
                </c:pt>
                <c:pt idx="38">
                  <c:v>08.11.21</c:v>
                </c:pt>
                <c:pt idx="39">
                  <c:v>09.11.21</c:v>
                </c:pt>
                <c:pt idx="40">
                  <c:v>10.11.21</c:v>
                </c:pt>
                <c:pt idx="41">
                  <c:v>11.11.21</c:v>
                </c:pt>
                <c:pt idx="42">
                  <c:v>12.11.21</c:v>
                </c:pt>
                <c:pt idx="43">
                  <c:v>13.11.21</c:v>
                </c:pt>
                <c:pt idx="44">
                  <c:v>14.11.21</c:v>
                </c:pt>
                <c:pt idx="45">
                  <c:v>15.11.21</c:v>
                </c:pt>
                <c:pt idx="46">
                  <c:v>16.11.21</c:v>
                </c:pt>
                <c:pt idx="47">
                  <c:v>17.11.21</c:v>
                </c:pt>
                <c:pt idx="48">
                  <c:v>18.11.21</c:v>
                </c:pt>
                <c:pt idx="49">
                  <c:v>19.11.21</c:v>
                </c:pt>
                <c:pt idx="50">
                  <c:v>20.11.21</c:v>
                </c:pt>
                <c:pt idx="51">
                  <c:v>21.11.21</c:v>
                </c:pt>
                <c:pt idx="52">
                  <c:v>22.11.21</c:v>
                </c:pt>
                <c:pt idx="53">
                  <c:v>23.11.21</c:v>
                </c:pt>
                <c:pt idx="54">
                  <c:v>24.11.21</c:v>
                </c:pt>
                <c:pt idx="55">
                  <c:v>25.11.21</c:v>
                </c:pt>
                <c:pt idx="56">
                  <c:v>26.11.21</c:v>
                </c:pt>
                <c:pt idx="57">
                  <c:v>27.11.21</c:v>
                </c:pt>
                <c:pt idx="58">
                  <c:v>28.11.21</c:v>
                </c:pt>
                <c:pt idx="59">
                  <c:v>29.11.21</c:v>
                </c:pt>
                <c:pt idx="60">
                  <c:v>30.11.21</c:v>
                </c:pt>
                <c:pt idx="61">
                  <c:v>01.12.21</c:v>
                </c:pt>
                <c:pt idx="62">
                  <c:v>02.12.21</c:v>
                </c:pt>
                <c:pt idx="63">
                  <c:v>03.12.21</c:v>
                </c:pt>
                <c:pt idx="64">
                  <c:v>04.12.21</c:v>
                </c:pt>
                <c:pt idx="65">
                  <c:v>05.12.21</c:v>
                </c:pt>
                <c:pt idx="66">
                  <c:v>06.12.21</c:v>
                </c:pt>
                <c:pt idx="67">
                  <c:v>07.12.21</c:v>
                </c:pt>
                <c:pt idx="68">
                  <c:v>08.12.21</c:v>
                </c:pt>
                <c:pt idx="69">
                  <c:v>09.12.21</c:v>
                </c:pt>
                <c:pt idx="70">
                  <c:v>10.12.21</c:v>
                </c:pt>
                <c:pt idx="71">
                  <c:v>11.12.21</c:v>
                </c:pt>
                <c:pt idx="72">
                  <c:v>12.12.21</c:v>
                </c:pt>
                <c:pt idx="73">
                  <c:v>13.12.21</c:v>
                </c:pt>
                <c:pt idx="74">
                  <c:v>14.12.21</c:v>
                </c:pt>
                <c:pt idx="75">
                  <c:v>15.12.21</c:v>
                </c:pt>
                <c:pt idx="76">
                  <c:v>16.12.21</c:v>
                </c:pt>
                <c:pt idx="77">
                  <c:v>17.12.21</c:v>
                </c:pt>
                <c:pt idx="78">
                  <c:v>18.12.21</c:v>
                </c:pt>
                <c:pt idx="79">
                  <c:v>19.12.21</c:v>
                </c:pt>
                <c:pt idx="80">
                  <c:v>20.12.21</c:v>
                </c:pt>
                <c:pt idx="81">
                  <c:v>21.12.21</c:v>
                </c:pt>
                <c:pt idx="82">
                  <c:v>22.12.21</c:v>
                </c:pt>
                <c:pt idx="83">
                  <c:v>23.12.21</c:v>
                </c:pt>
                <c:pt idx="84">
                  <c:v>24.12.21</c:v>
                </c:pt>
                <c:pt idx="85">
                  <c:v>25.12.21</c:v>
                </c:pt>
                <c:pt idx="86">
                  <c:v>26.12.21</c:v>
                </c:pt>
                <c:pt idx="87">
                  <c:v>27.12.21</c:v>
                </c:pt>
                <c:pt idx="88">
                  <c:v>28.12.21</c:v>
                </c:pt>
                <c:pt idx="89">
                  <c:v>29.12.21</c:v>
                </c:pt>
                <c:pt idx="90">
                  <c:v>30.12.21</c:v>
                </c:pt>
                <c:pt idx="91">
                  <c:v>31.12.21</c:v>
                </c:pt>
                <c:pt idx="92">
                  <c:v>01.01.22</c:v>
                </c:pt>
                <c:pt idx="93">
                  <c:v>02.01.22</c:v>
                </c:pt>
                <c:pt idx="94">
                  <c:v>03.01.22</c:v>
                </c:pt>
                <c:pt idx="95">
                  <c:v>04.01.22</c:v>
                </c:pt>
                <c:pt idx="96">
                  <c:v>05.01.22</c:v>
                </c:pt>
                <c:pt idx="97">
                  <c:v>06.01.22</c:v>
                </c:pt>
                <c:pt idx="98">
                  <c:v>07.01.22</c:v>
                </c:pt>
                <c:pt idx="99">
                  <c:v>08.01.22</c:v>
                </c:pt>
                <c:pt idx="100">
                  <c:v>09.01.22</c:v>
                </c:pt>
                <c:pt idx="101">
                  <c:v>10.01.22</c:v>
                </c:pt>
                <c:pt idx="102">
                  <c:v>11.01.22</c:v>
                </c:pt>
                <c:pt idx="103">
                  <c:v>12.01.22</c:v>
                </c:pt>
                <c:pt idx="104">
                  <c:v>13.01.22</c:v>
                </c:pt>
                <c:pt idx="105">
                  <c:v>14.01.22</c:v>
                </c:pt>
                <c:pt idx="106">
                  <c:v>15.01.22</c:v>
                </c:pt>
                <c:pt idx="107">
                  <c:v>16.01.22</c:v>
                </c:pt>
                <c:pt idx="108">
                  <c:v>17.01.22</c:v>
                </c:pt>
                <c:pt idx="109">
                  <c:v>18.01.22</c:v>
                </c:pt>
                <c:pt idx="110">
                  <c:v>19.01.22</c:v>
                </c:pt>
                <c:pt idx="111">
                  <c:v>20.01.22</c:v>
                </c:pt>
                <c:pt idx="112">
                  <c:v>21.01.22</c:v>
                </c:pt>
                <c:pt idx="113">
                  <c:v>22.01.22</c:v>
                </c:pt>
                <c:pt idx="114">
                  <c:v>23.01.22</c:v>
                </c:pt>
                <c:pt idx="115">
                  <c:v>24.01.22</c:v>
                </c:pt>
                <c:pt idx="116">
                  <c:v>25.01.22</c:v>
                </c:pt>
                <c:pt idx="117">
                  <c:v>26.01.22</c:v>
                </c:pt>
                <c:pt idx="118">
                  <c:v>27.01.22</c:v>
                </c:pt>
                <c:pt idx="119">
                  <c:v>28.01.22</c:v>
                </c:pt>
                <c:pt idx="120">
                  <c:v>29.01.22</c:v>
                </c:pt>
                <c:pt idx="121">
                  <c:v>30.01.22</c:v>
                </c:pt>
                <c:pt idx="122">
                  <c:v>31.01.22</c:v>
                </c:pt>
                <c:pt idx="123">
                  <c:v>01.02.22</c:v>
                </c:pt>
                <c:pt idx="124">
                  <c:v>02.02.22</c:v>
                </c:pt>
                <c:pt idx="125">
                  <c:v>03.02.22</c:v>
                </c:pt>
                <c:pt idx="126">
                  <c:v>04.02.22</c:v>
                </c:pt>
                <c:pt idx="127">
                  <c:v>05.02.22</c:v>
                </c:pt>
                <c:pt idx="128">
                  <c:v>06.02.22</c:v>
                </c:pt>
                <c:pt idx="129">
                  <c:v>07.02.22</c:v>
                </c:pt>
                <c:pt idx="130">
                  <c:v>08.02.22</c:v>
                </c:pt>
                <c:pt idx="131">
                  <c:v>09.02.22</c:v>
                </c:pt>
                <c:pt idx="132">
                  <c:v>10.02.22</c:v>
                </c:pt>
                <c:pt idx="133">
                  <c:v>11.02.22</c:v>
                </c:pt>
                <c:pt idx="134">
                  <c:v>12.02.22</c:v>
                </c:pt>
                <c:pt idx="135">
                  <c:v>13.02.22</c:v>
                </c:pt>
                <c:pt idx="136">
                  <c:v>14.02.22</c:v>
                </c:pt>
                <c:pt idx="137">
                  <c:v>15.02.22</c:v>
                </c:pt>
                <c:pt idx="138">
                  <c:v>16.02.22</c:v>
                </c:pt>
                <c:pt idx="139">
                  <c:v>17.02.22</c:v>
                </c:pt>
                <c:pt idx="140">
                  <c:v>18.02.22</c:v>
                </c:pt>
                <c:pt idx="141">
                  <c:v>19.02.22</c:v>
                </c:pt>
                <c:pt idx="142">
                  <c:v>20.02.22</c:v>
                </c:pt>
                <c:pt idx="143">
                  <c:v>21.02.22</c:v>
                </c:pt>
                <c:pt idx="144">
                  <c:v>22.02.22</c:v>
                </c:pt>
                <c:pt idx="145">
                  <c:v>23.02.22</c:v>
                </c:pt>
                <c:pt idx="146">
                  <c:v>24.02.22</c:v>
                </c:pt>
                <c:pt idx="147">
                  <c:v>25.02.22</c:v>
                </c:pt>
                <c:pt idx="148">
                  <c:v>26.02.22</c:v>
                </c:pt>
                <c:pt idx="149">
                  <c:v>27.02.22</c:v>
                </c:pt>
                <c:pt idx="150">
                  <c:v>28.02.22</c:v>
                </c:pt>
                <c:pt idx="151">
                  <c:v>01.03.22</c:v>
                </c:pt>
                <c:pt idx="152">
                  <c:v>02.03.22</c:v>
                </c:pt>
                <c:pt idx="153">
                  <c:v>03.03.22</c:v>
                </c:pt>
                <c:pt idx="154">
                  <c:v>04.03.22</c:v>
                </c:pt>
                <c:pt idx="155">
                  <c:v>05.03.22</c:v>
                </c:pt>
                <c:pt idx="156">
                  <c:v>06.03.22</c:v>
                </c:pt>
                <c:pt idx="157">
                  <c:v>07.03.22</c:v>
                </c:pt>
                <c:pt idx="158">
                  <c:v>08.03.22</c:v>
                </c:pt>
                <c:pt idx="159">
                  <c:v>09.03.22</c:v>
                </c:pt>
                <c:pt idx="160">
                  <c:v>10.03.22</c:v>
                </c:pt>
                <c:pt idx="161">
                  <c:v>11.03.22</c:v>
                </c:pt>
                <c:pt idx="162">
                  <c:v>12.03.22</c:v>
                </c:pt>
                <c:pt idx="163">
                  <c:v>13.03.22</c:v>
                </c:pt>
                <c:pt idx="164">
                  <c:v>14.03.22</c:v>
                </c:pt>
                <c:pt idx="165">
                  <c:v>15.03.22</c:v>
                </c:pt>
                <c:pt idx="166">
                  <c:v>16.03.22</c:v>
                </c:pt>
                <c:pt idx="167">
                  <c:v>17.03.22</c:v>
                </c:pt>
                <c:pt idx="168">
                  <c:v>18.03.22</c:v>
                </c:pt>
                <c:pt idx="169">
                  <c:v>19.03.22</c:v>
                </c:pt>
                <c:pt idx="170">
                  <c:v>20.03.22</c:v>
                </c:pt>
                <c:pt idx="171">
                  <c:v>21.03.22</c:v>
                </c:pt>
                <c:pt idx="172">
                  <c:v>22.03.22</c:v>
                </c:pt>
                <c:pt idx="173">
                  <c:v>23.03.22</c:v>
                </c:pt>
                <c:pt idx="174">
                  <c:v>24.03.22</c:v>
                </c:pt>
                <c:pt idx="175">
                  <c:v>25.03.22</c:v>
                </c:pt>
                <c:pt idx="176">
                  <c:v>26.03.22</c:v>
                </c:pt>
                <c:pt idx="177">
                  <c:v>27.03.22</c:v>
                </c:pt>
                <c:pt idx="178">
                  <c:v>28.03.22</c:v>
                </c:pt>
                <c:pt idx="179">
                  <c:v>29.03.22</c:v>
                </c:pt>
                <c:pt idx="180">
                  <c:v>30.03.22</c:v>
                </c:pt>
                <c:pt idx="181">
                  <c:v>31.03.22</c:v>
                </c:pt>
                <c:pt idx="182">
                  <c:v>01.04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8</c:v>
                </c:pt>
                <c:pt idx="1">
                  <c:v>4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9</c:v>
                </c:pt>
                <c:pt idx="8">
                  <c:v>7</c:v>
                </c:pt>
                <c:pt idx="9">
                  <c:v>5</c:v>
                </c:pt>
                <c:pt idx="10">
                  <c:v>19</c:v>
                </c:pt>
                <c:pt idx="11">
                  <c:v>31</c:v>
                </c:pt>
                <c:pt idx="12">
                  <c:v>19</c:v>
                </c:pt>
                <c:pt idx="13">
                  <c:v>16</c:v>
                </c:pt>
                <c:pt idx="14">
                  <c:v>14</c:v>
                </c:pt>
                <c:pt idx="15">
                  <c:v>9</c:v>
                </c:pt>
                <c:pt idx="16">
                  <c:v>12</c:v>
                </c:pt>
                <c:pt idx="17">
                  <c:v>38</c:v>
                </c:pt>
                <c:pt idx="18">
                  <c:v>54</c:v>
                </c:pt>
                <c:pt idx="19">
                  <c:v>46</c:v>
                </c:pt>
                <c:pt idx="20">
                  <c:v>53</c:v>
                </c:pt>
                <c:pt idx="21">
                  <c:v>42</c:v>
                </c:pt>
                <c:pt idx="22">
                  <c:v>27</c:v>
                </c:pt>
                <c:pt idx="23">
                  <c:v>20</c:v>
                </c:pt>
                <c:pt idx="24">
                  <c:v>76</c:v>
                </c:pt>
                <c:pt idx="25">
                  <c:v>82</c:v>
                </c:pt>
                <c:pt idx="26">
                  <c:v>63</c:v>
                </c:pt>
                <c:pt idx="27">
                  <c:v>40</c:v>
                </c:pt>
                <c:pt idx="28">
                  <c:v>78</c:v>
                </c:pt>
                <c:pt idx="29">
                  <c:v>52</c:v>
                </c:pt>
                <c:pt idx="30">
                  <c:v>40</c:v>
                </c:pt>
                <c:pt idx="31">
                  <c:v>129</c:v>
                </c:pt>
                <c:pt idx="32">
                  <c:v>129</c:v>
                </c:pt>
                <c:pt idx="33">
                  <c:v>103</c:v>
                </c:pt>
                <c:pt idx="34">
                  <c:v>105</c:v>
                </c:pt>
                <c:pt idx="35">
                  <c:v>127</c:v>
                </c:pt>
                <c:pt idx="36">
                  <c:v>53</c:v>
                </c:pt>
                <c:pt idx="37">
                  <c:v>38</c:v>
                </c:pt>
                <c:pt idx="38">
                  <c:v>127</c:v>
                </c:pt>
                <c:pt idx="39">
                  <c:v>134</c:v>
                </c:pt>
                <c:pt idx="40">
                  <c:v>144</c:v>
                </c:pt>
                <c:pt idx="41">
                  <c:v>113</c:v>
                </c:pt>
                <c:pt idx="42">
                  <c:v>160</c:v>
                </c:pt>
                <c:pt idx="43">
                  <c:v>90</c:v>
                </c:pt>
                <c:pt idx="44">
                  <c:v>49</c:v>
                </c:pt>
                <c:pt idx="45">
                  <c:v>156</c:v>
                </c:pt>
                <c:pt idx="46">
                  <c:v>190</c:v>
                </c:pt>
                <c:pt idx="47">
                  <c:v>139</c:v>
                </c:pt>
                <c:pt idx="48">
                  <c:v>156</c:v>
                </c:pt>
                <c:pt idx="49">
                  <c:v>243</c:v>
                </c:pt>
                <c:pt idx="50">
                  <c:v>117</c:v>
                </c:pt>
                <c:pt idx="51">
                  <c:v>86</c:v>
                </c:pt>
                <c:pt idx="52">
                  <c:v>196</c:v>
                </c:pt>
                <c:pt idx="53">
                  <c:v>206</c:v>
                </c:pt>
                <c:pt idx="54">
                  <c:v>171</c:v>
                </c:pt>
                <c:pt idx="55">
                  <c:v>247</c:v>
                </c:pt>
                <c:pt idx="56">
                  <c:v>141</c:v>
                </c:pt>
                <c:pt idx="57">
                  <c:v>108</c:v>
                </c:pt>
                <c:pt idx="58">
                  <c:v>83</c:v>
                </c:pt>
                <c:pt idx="59">
                  <c:v>197</c:v>
                </c:pt>
                <c:pt idx="60">
                  <c:v>184</c:v>
                </c:pt>
                <c:pt idx="61">
                  <c:v>158</c:v>
                </c:pt>
                <c:pt idx="62">
                  <c:v>126</c:v>
                </c:pt>
                <c:pt idx="63">
                  <c:v>152</c:v>
                </c:pt>
                <c:pt idx="64">
                  <c:v>94</c:v>
                </c:pt>
                <c:pt idx="65">
                  <c:v>63</c:v>
                </c:pt>
                <c:pt idx="66">
                  <c:v>185</c:v>
                </c:pt>
                <c:pt idx="67">
                  <c:v>156</c:v>
                </c:pt>
                <c:pt idx="68">
                  <c:v>127</c:v>
                </c:pt>
                <c:pt idx="69">
                  <c:v>108</c:v>
                </c:pt>
                <c:pt idx="70">
                  <c:v>89</c:v>
                </c:pt>
                <c:pt idx="71">
                  <c:v>75</c:v>
                </c:pt>
                <c:pt idx="72">
                  <c:v>60</c:v>
                </c:pt>
                <c:pt idx="73">
                  <c:v>115</c:v>
                </c:pt>
                <c:pt idx="74">
                  <c:v>166</c:v>
                </c:pt>
                <c:pt idx="75">
                  <c:v>88</c:v>
                </c:pt>
                <c:pt idx="76">
                  <c:v>87</c:v>
                </c:pt>
                <c:pt idx="77">
                  <c:v>91</c:v>
                </c:pt>
                <c:pt idx="78">
                  <c:v>57</c:v>
                </c:pt>
                <c:pt idx="79">
                  <c:v>41</c:v>
                </c:pt>
                <c:pt idx="80">
                  <c:v>99</c:v>
                </c:pt>
                <c:pt idx="81">
                  <c:v>92</c:v>
                </c:pt>
                <c:pt idx="82">
                  <c:v>44</c:v>
                </c:pt>
                <c:pt idx="83">
                  <c:v>68</c:v>
                </c:pt>
                <c:pt idx="84">
                  <c:v>20</c:v>
                </c:pt>
                <c:pt idx="85">
                  <c:v>12</c:v>
                </c:pt>
                <c:pt idx="86">
                  <c:v>21</c:v>
                </c:pt>
                <c:pt idx="87">
                  <c:v>67</c:v>
                </c:pt>
                <c:pt idx="88">
                  <c:v>90</c:v>
                </c:pt>
                <c:pt idx="89">
                  <c:v>59</c:v>
                </c:pt>
                <c:pt idx="90">
                  <c:v>57</c:v>
                </c:pt>
                <c:pt idx="91">
                  <c:v>73</c:v>
                </c:pt>
                <c:pt idx="92">
                  <c:v>12</c:v>
                </c:pt>
                <c:pt idx="93">
                  <c:v>22</c:v>
                </c:pt>
                <c:pt idx="94">
                  <c:v>91</c:v>
                </c:pt>
                <c:pt idx="95">
                  <c:v>86</c:v>
                </c:pt>
                <c:pt idx="96">
                  <c:v>69</c:v>
                </c:pt>
                <c:pt idx="97">
                  <c:v>66</c:v>
                </c:pt>
                <c:pt idx="98">
                  <c:v>64</c:v>
                </c:pt>
                <c:pt idx="99">
                  <c:v>30</c:v>
                </c:pt>
                <c:pt idx="100">
                  <c:v>27</c:v>
                </c:pt>
                <c:pt idx="101">
                  <c:v>77</c:v>
                </c:pt>
                <c:pt idx="102">
                  <c:v>106</c:v>
                </c:pt>
                <c:pt idx="103">
                  <c:v>88</c:v>
                </c:pt>
                <c:pt idx="104">
                  <c:v>74</c:v>
                </c:pt>
                <c:pt idx="105">
                  <c:v>94</c:v>
                </c:pt>
                <c:pt idx="106">
                  <c:v>57</c:v>
                </c:pt>
                <c:pt idx="107">
                  <c:v>54</c:v>
                </c:pt>
                <c:pt idx="108">
                  <c:v>178</c:v>
                </c:pt>
                <c:pt idx="109">
                  <c:v>190</c:v>
                </c:pt>
                <c:pt idx="110">
                  <c:v>220</c:v>
                </c:pt>
                <c:pt idx="111">
                  <c:v>215</c:v>
                </c:pt>
                <c:pt idx="112">
                  <c:v>204</c:v>
                </c:pt>
                <c:pt idx="113">
                  <c:v>141</c:v>
                </c:pt>
                <c:pt idx="114">
                  <c:v>109</c:v>
                </c:pt>
                <c:pt idx="115">
                  <c:v>282</c:v>
                </c:pt>
                <c:pt idx="116">
                  <c:v>313</c:v>
                </c:pt>
                <c:pt idx="117">
                  <c:v>399</c:v>
                </c:pt>
                <c:pt idx="118">
                  <c:v>306</c:v>
                </c:pt>
                <c:pt idx="119">
                  <c:v>406</c:v>
                </c:pt>
                <c:pt idx="120">
                  <c:v>148</c:v>
                </c:pt>
                <c:pt idx="121">
                  <c:v>170</c:v>
                </c:pt>
                <c:pt idx="122">
                  <c:v>361</c:v>
                </c:pt>
                <c:pt idx="123">
                  <c:v>479</c:v>
                </c:pt>
                <c:pt idx="124">
                  <c:v>352</c:v>
                </c:pt>
                <c:pt idx="125">
                  <c:v>349</c:v>
                </c:pt>
                <c:pt idx="126">
                  <c:v>289</c:v>
                </c:pt>
                <c:pt idx="127">
                  <c:v>181</c:v>
                </c:pt>
                <c:pt idx="128">
                  <c:v>107</c:v>
                </c:pt>
                <c:pt idx="129">
                  <c:v>416</c:v>
                </c:pt>
                <c:pt idx="130">
                  <c:v>355</c:v>
                </c:pt>
                <c:pt idx="131">
                  <c:v>303</c:v>
                </c:pt>
                <c:pt idx="132">
                  <c:v>252</c:v>
                </c:pt>
                <c:pt idx="133">
                  <c:v>216</c:v>
                </c:pt>
                <c:pt idx="134">
                  <c:v>122</c:v>
                </c:pt>
                <c:pt idx="135">
                  <c:v>88</c:v>
                </c:pt>
                <c:pt idx="136">
                  <c:v>233</c:v>
                </c:pt>
                <c:pt idx="137">
                  <c:v>256</c:v>
                </c:pt>
                <c:pt idx="138">
                  <c:v>169</c:v>
                </c:pt>
                <c:pt idx="139">
                  <c:v>151</c:v>
                </c:pt>
                <c:pt idx="140">
                  <c:v>141</c:v>
                </c:pt>
                <c:pt idx="141">
                  <c:v>78</c:v>
                </c:pt>
                <c:pt idx="142">
                  <c:v>51</c:v>
                </c:pt>
                <c:pt idx="143">
                  <c:v>187</c:v>
                </c:pt>
                <c:pt idx="144">
                  <c:v>143</c:v>
                </c:pt>
                <c:pt idx="145">
                  <c:v>109</c:v>
                </c:pt>
                <c:pt idx="146">
                  <c:v>122</c:v>
                </c:pt>
                <c:pt idx="147">
                  <c:v>96</c:v>
                </c:pt>
                <c:pt idx="148">
                  <c:v>56</c:v>
                </c:pt>
                <c:pt idx="149">
                  <c:v>41</c:v>
                </c:pt>
                <c:pt idx="150">
                  <c:v>151</c:v>
                </c:pt>
                <c:pt idx="151">
                  <c:v>132</c:v>
                </c:pt>
                <c:pt idx="152">
                  <c:v>102</c:v>
                </c:pt>
                <c:pt idx="153">
                  <c:v>95</c:v>
                </c:pt>
                <c:pt idx="154">
                  <c:v>76</c:v>
                </c:pt>
                <c:pt idx="155">
                  <c:v>53</c:v>
                </c:pt>
                <c:pt idx="156">
                  <c:v>32</c:v>
                </c:pt>
                <c:pt idx="157">
                  <c:v>152</c:v>
                </c:pt>
                <c:pt idx="158">
                  <c:v>124</c:v>
                </c:pt>
                <c:pt idx="159">
                  <c:v>125</c:v>
                </c:pt>
                <c:pt idx="160">
                  <c:v>91</c:v>
                </c:pt>
                <c:pt idx="161">
                  <c:v>84</c:v>
                </c:pt>
                <c:pt idx="162">
                  <c:v>45</c:v>
                </c:pt>
                <c:pt idx="163">
                  <c:v>35</c:v>
                </c:pt>
                <c:pt idx="164">
                  <c:v>156</c:v>
                </c:pt>
                <c:pt idx="165">
                  <c:v>121</c:v>
                </c:pt>
                <c:pt idx="166">
                  <c:v>102</c:v>
                </c:pt>
                <c:pt idx="167">
                  <c:v>94</c:v>
                </c:pt>
                <c:pt idx="168">
                  <c:v>109</c:v>
                </c:pt>
                <c:pt idx="169">
                  <c:v>44</c:v>
                </c:pt>
                <c:pt idx="170">
                  <c:v>27</c:v>
                </c:pt>
                <c:pt idx="171">
                  <c:v>151</c:v>
                </c:pt>
                <c:pt idx="172">
                  <c:v>112</c:v>
                </c:pt>
                <c:pt idx="173">
                  <c:v>110</c:v>
                </c:pt>
                <c:pt idx="174">
                  <c:v>79</c:v>
                </c:pt>
                <c:pt idx="175">
                  <c:v>77</c:v>
                </c:pt>
                <c:pt idx="176">
                  <c:v>38</c:v>
                </c:pt>
                <c:pt idx="177">
                  <c:v>38</c:v>
                </c:pt>
                <c:pt idx="178">
                  <c:v>125</c:v>
                </c:pt>
                <c:pt idx="179">
                  <c:v>120</c:v>
                </c:pt>
                <c:pt idx="180">
                  <c:v>72</c:v>
                </c:pt>
                <c:pt idx="181">
                  <c:v>65</c:v>
                </c:pt>
                <c:pt idx="182">
                  <c:v>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8987323987963556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1.10.21</c:v>
                </c:pt>
                <c:pt idx="1">
                  <c:v>02.10.21</c:v>
                </c:pt>
                <c:pt idx="2">
                  <c:v>03.10.21</c:v>
                </c:pt>
                <c:pt idx="3">
                  <c:v>04.10.21</c:v>
                </c:pt>
                <c:pt idx="4">
                  <c:v>05.10.21</c:v>
                </c:pt>
                <c:pt idx="5">
                  <c:v>06.10.21</c:v>
                </c:pt>
                <c:pt idx="6">
                  <c:v>07.10.21</c:v>
                </c:pt>
                <c:pt idx="7">
                  <c:v>08.10.21</c:v>
                </c:pt>
                <c:pt idx="8">
                  <c:v>09.10.21</c:v>
                </c:pt>
                <c:pt idx="9">
                  <c:v>10.10.21</c:v>
                </c:pt>
                <c:pt idx="10">
                  <c:v>11.10.21</c:v>
                </c:pt>
                <c:pt idx="11">
                  <c:v>12.10.21</c:v>
                </c:pt>
                <c:pt idx="12">
                  <c:v>13.10.21</c:v>
                </c:pt>
                <c:pt idx="13">
                  <c:v>14.10.21</c:v>
                </c:pt>
                <c:pt idx="14">
                  <c:v>15.10.21</c:v>
                </c:pt>
                <c:pt idx="15">
                  <c:v>16.10.21</c:v>
                </c:pt>
                <c:pt idx="16">
                  <c:v>17.10.21</c:v>
                </c:pt>
                <c:pt idx="17">
                  <c:v>18.10.21</c:v>
                </c:pt>
                <c:pt idx="18">
                  <c:v>19.10.21</c:v>
                </c:pt>
                <c:pt idx="19">
                  <c:v>20.10.21</c:v>
                </c:pt>
                <c:pt idx="20">
                  <c:v>21.10.21</c:v>
                </c:pt>
                <c:pt idx="21">
                  <c:v>22.10.21</c:v>
                </c:pt>
                <c:pt idx="22">
                  <c:v>23.10.21</c:v>
                </c:pt>
                <c:pt idx="23">
                  <c:v>24.10.21</c:v>
                </c:pt>
                <c:pt idx="24">
                  <c:v>25.10.21</c:v>
                </c:pt>
                <c:pt idx="25">
                  <c:v>26.10.21</c:v>
                </c:pt>
                <c:pt idx="26">
                  <c:v>27.10.21</c:v>
                </c:pt>
                <c:pt idx="27">
                  <c:v>28.10.21</c:v>
                </c:pt>
                <c:pt idx="28">
                  <c:v>29.10.21</c:v>
                </c:pt>
                <c:pt idx="29">
                  <c:v>30.10.21</c:v>
                </c:pt>
                <c:pt idx="30">
                  <c:v>31.10.21</c:v>
                </c:pt>
                <c:pt idx="31">
                  <c:v>01.11.21</c:v>
                </c:pt>
                <c:pt idx="32">
                  <c:v>02.11.21</c:v>
                </c:pt>
                <c:pt idx="33">
                  <c:v>03.11.21</c:v>
                </c:pt>
                <c:pt idx="34">
                  <c:v>04.11.21</c:v>
                </c:pt>
                <c:pt idx="35">
                  <c:v>05.11.21</c:v>
                </c:pt>
                <c:pt idx="36">
                  <c:v>06.11.21</c:v>
                </c:pt>
                <c:pt idx="37">
                  <c:v>07.11.21</c:v>
                </c:pt>
                <c:pt idx="38">
                  <c:v>08.11.21</c:v>
                </c:pt>
                <c:pt idx="39">
                  <c:v>09.11.21</c:v>
                </c:pt>
                <c:pt idx="40">
                  <c:v>10.11.21</c:v>
                </c:pt>
                <c:pt idx="41">
                  <c:v>11.11.21</c:v>
                </c:pt>
                <c:pt idx="42">
                  <c:v>12.11.21</c:v>
                </c:pt>
                <c:pt idx="43">
                  <c:v>13.11.21</c:v>
                </c:pt>
                <c:pt idx="44">
                  <c:v>14.11.21</c:v>
                </c:pt>
                <c:pt idx="45">
                  <c:v>15.11.21</c:v>
                </c:pt>
                <c:pt idx="46">
                  <c:v>16.11.21</c:v>
                </c:pt>
                <c:pt idx="47">
                  <c:v>17.11.21</c:v>
                </c:pt>
                <c:pt idx="48">
                  <c:v>18.11.21</c:v>
                </c:pt>
                <c:pt idx="49">
                  <c:v>19.11.21</c:v>
                </c:pt>
                <c:pt idx="50">
                  <c:v>20.11.21</c:v>
                </c:pt>
                <c:pt idx="51">
                  <c:v>21.11.21</c:v>
                </c:pt>
                <c:pt idx="52">
                  <c:v>22.11.21</c:v>
                </c:pt>
                <c:pt idx="53">
                  <c:v>23.11.21</c:v>
                </c:pt>
                <c:pt idx="54">
                  <c:v>24.11.21</c:v>
                </c:pt>
                <c:pt idx="55">
                  <c:v>25.11.21</c:v>
                </c:pt>
                <c:pt idx="56">
                  <c:v>26.11.21</c:v>
                </c:pt>
                <c:pt idx="57">
                  <c:v>27.11.21</c:v>
                </c:pt>
                <c:pt idx="58">
                  <c:v>28.11.21</c:v>
                </c:pt>
                <c:pt idx="59">
                  <c:v>29.11.21</c:v>
                </c:pt>
                <c:pt idx="60">
                  <c:v>30.11.21</c:v>
                </c:pt>
                <c:pt idx="61">
                  <c:v>01.12.21</c:v>
                </c:pt>
                <c:pt idx="62">
                  <c:v>02.12.21</c:v>
                </c:pt>
                <c:pt idx="63">
                  <c:v>03.12.21</c:v>
                </c:pt>
                <c:pt idx="64">
                  <c:v>04.12.21</c:v>
                </c:pt>
                <c:pt idx="65">
                  <c:v>05.12.21</c:v>
                </c:pt>
                <c:pt idx="66">
                  <c:v>06.12.21</c:v>
                </c:pt>
                <c:pt idx="67">
                  <c:v>07.12.21</c:v>
                </c:pt>
                <c:pt idx="68">
                  <c:v>08.12.21</c:v>
                </c:pt>
                <c:pt idx="69">
                  <c:v>09.12.21</c:v>
                </c:pt>
                <c:pt idx="70">
                  <c:v>10.12.21</c:v>
                </c:pt>
                <c:pt idx="71">
                  <c:v>11.12.21</c:v>
                </c:pt>
                <c:pt idx="72">
                  <c:v>12.12.21</c:v>
                </c:pt>
                <c:pt idx="73">
                  <c:v>13.12.21</c:v>
                </c:pt>
                <c:pt idx="74">
                  <c:v>14.12.21</c:v>
                </c:pt>
                <c:pt idx="75">
                  <c:v>15.12.21</c:v>
                </c:pt>
                <c:pt idx="76">
                  <c:v>16.12.21</c:v>
                </c:pt>
                <c:pt idx="77">
                  <c:v>17.12.21</c:v>
                </c:pt>
                <c:pt idx="78">
                  <c:v>18.12.21</c:v>
                </c:pt>
                <c:pt idx="79">
                  <c:v>19.12.21</c:v>
                </c:pt>
                <c:pt idx="80">
                  <c:v>20.12.21</c:v>
                </c:pt>
                <c:pt idx="81">
                  <c:v>21.12.21</c:v>
                </c:pt>
                <c:pt idx="82">
                  <c:v>22.12.21</c:v>
                </c:pt>
                <c:pt idx="83">
                  <c:v>23.12.21</c:v>
                </c:pt>
                <c:pt idx="84">
                  <c:v>24.12.21</c:v>
                </c:pt>
                <c:pt idx="85">
                  <c:v>25.12.21</c:v>
                </c:pt>
                <c:pt idx="86">
                  <c:v>26.12.21</c:v>
                </c:pt>
                <c:pt idx="87">
                  <c:v>27.12.21</c:v>
                </c:pt>
                <c:pt idx="88">
                  <c:v>28.12.21</c:v>
                </c:pt>
                <c:pt idx="89">
                  <c:v>29.12.21</c:v>
                </c:pt>
                <c:pt idx="90">
                  <c:v>30.12.21</c:v>
                </c:pt>
                <c:pt idx="91">
                  <c:v>31.12.21</c:v>
                </c:pt>
                <c:pt idx="92">
                  <c:v>01.01.22</c:v>
                </c:pt>
                <c:pt idx="93">
                  <c:v>02.01.22</c:v>
                </c:pt>
                <c:pt idx="94">
                  <c:v>03.01.22</c:v>
                </c:pt>
                <c:pt idx="95">
                  <c:v>04.01.22</c:v>
                </c:pt>
                <c:pt idx="96">
                  <c:v>05.01.22</c:v>
                </c:pt>
                <c:pt idx="97">
                  <c:v>06.01.22</c:v>
                </c:pt>
                <c:pt idx="98">
                  <c:v>07.01.22</c:v>
                </c:pt>
                <c:pt idx="99">
                  <c:v>08.01.22</c:v>
                </c:pt>
                <c:pt idx="100">
                  <c:v>09.01.22</c:v>
                </c:pt>
                <c:pt idx="101">
                  <c:v>10.01.22</c:v>
                </c:pt>
                <c:pt idx="102">
                  <c:v>11.01.22</c:v>
                </c:pt>
                <c:pt idx="103">
                  <c:v>12.01.22</c:v>
                </c:pt>
                <c:pt idx="104">
                  <c:v>13.01.22</c:v>
                </c:pt>
                <c:pt idx="105">
                  <c:v>14.01.22</c:v>
                </c:pt>
                <c:pt idx="106">
                  <c:v>15.01.22</c:v>
                </c:pt>
                <c:pt idx="107">
                  <c:v>16.01.22</c:v>
                </c:pt>
                <c:pt idx="108">
                  <c:v>17.01.22</c:v>
                </c:pt>
                <c:pt idx="109">
                  <c:v>18.01.22</c:v>
                </c:pt>
                <c:pt idx="110">
                  <c:v>19.01.22</c:v>
                </c:pt>
                <c:pt idx="111">
                  <c:v>20.01.22</c:v>
                </c:pt>
                <c:pt idx="112">
                  <c:v>21.01.22</c:v>
                </c:pt>
                <c:pt idx="113">
                  <c:v>22.01.22</c:v>
                </c:pt>
                <c:pt idx="114">
                  <c:v>23.01.22</c:v>
                </c:pt>
                <c:pt idx="115">
                  <c:v>24.01.22</c:v>
                </c:pt>
                <c:pt idx="116">
                  <c:v>25.01.22</c:v>
                </c:pt>
                <c:pt idx="117">
                  <c:v>26.01.22</c:v>
                </c:pt>
                <c:pt idx="118">
                  <c:v>27.01.22</c:v>
                </c:pt>
                <c:pt idx="119">
                  <c:v>28.01.22</c:v>
                </c:pt>
                <c:pt idx="120">
                  <c:v>29.01.22</c:v>
                </c:pt>
                <c:pt idx="121">
                  <c:v>30.01.22</c:v>
                </c:pt>
                <c:pt idx="122">
                  <c:v>31.01.22</c:v>
                </c:pt>
                <c:pt idx="123">
                  <c:v>01.02.22</c:v>
                </c:pt>
                <c:pt idx="124">
                  <c:v>02.02.22</c:v>
                </c:pt>
                <c:pt idx="125">
                  <c:v>03.02.22</c:v>
                </c:pt>
                <c:pt idx="126">
                  <c:v>04.02.22</c:v>
                </c:pt>
                <c:pt idx="127">
                  <c:v>05.02.22</c:v>
                </c:pt>
                <c:pt idx="128">
                  <c:v>06.02.22</c:v>
                </c:pt>
                <c:pt idx="129">
                  <c:v>07.02.22</c:v>
                </c:pt>
                <c:pt idx="130">
                  <c:v>08.02.22</c:v>
                </c:pt>
                <c:pt idx="131">
                  <c:v>09.02.22</c:v>
                </c:pt>
                <c:pt idx="132">
                  <c:v>10.02.22</c:v>
                </c:pt>
                <c:pt idx="133">
                  <c:v>11.02.22</c:v>
                </c:pt>
                <c:pt idx="134">
                  <c:v>12.02.22</c:v>
                </c:pt>
                <c:pt idx="135">
                  <c:v>13.02.22</c:v>
                </c:pt>
                <c:pt idx="136">
                  <c:v>14.02.22</c:v>
                </c:pt>
                <c:pt idx="137">
                  <c:v>15.02.22</c:v>
                </c:pt>
                <c:pt idx="138">
                  <c:v>16.02.22</c:v>
                </c:pt>
                <c:pt idx="139">
                  <c:v>17.02.22</c:v>
                </c:pt>
                <c:pt idx="140">
                  <c:v>18.02.22</c:v>
                </c:pt>
                <c:pt idx="141">
                  <c:v>19.02.22</c:v>
                </c:pt>
                <c:pt idx="142">
                  <c:v>20.02.22</c:v>
                </c:pt>
                <c:pt idx="143">
                  <c:v>21.02.22</c:v>
                </c:pt>
                <c:pt idx="144">
                  <c:v>22.02.22</c:v>
                </c:pt>
                <c:pt idx="145">
                  <c:v>23.02.22</c:v>
                </c:pt>
                <c:pt idx="146">
                  <c:v>24.02.22</c:v>
                </c:pt>
                <c:pt idx="147">
                  <c:v>25.02.22</c:v>
                </c:pt>
                <c:pt idx="148">
                  <c:v>26.02.22</c:v>
                </c:pt>
                <c:pt idx="149">
                  <c:v>27.02.22</c:v>
                </c:pt>
                <c:pt idx="150">
                  <c:v>28.02.22</c:v>
                </c:pt>
                <c:pt idx="151">
                  <c:v>01.03.22</c:v>
                </c:pt>
                <c:pt idx="152">
                  <c:v>02.03.22</c:v>
                </c:pt>
                <c:pt idx="153">
                  <c:v>03.03.22</c:v>
                </c:pt>
                <c:pt idx="154">
                  <c:v>04.03.22</c:v>
                </c:pt>
                <c:pt idx="155">
                  <c:v>05.03.22</c:v>
                </c:pt>
                <c:pt idx="156">
                  <c:v>06.03.22</c:v>
                </c:pt>
                <c:pt idx="157">
                  <c:v>07.03.22</c:v>
                </c:pt>
                <c:pt idx="158">
                  <c:v>08.03.22</c:v>
                </c:pt>
                <c:pt idx="159">
                  <c:v>09.03.22</c:v>
                </c:pt>
                <c:pt idx="160">
                  <c:v>10.03.22</c:v>
                </c:pt>
                <c:pt idx="161">
                  <c:v>11.03.22</c:v>
                </c:pt>
                <c:pt idx="162">
                  <c:v>12.03.22</c:v>
                </c:pt>
                <c:pt idx="163">
                  <c:v>13.03.22</c:v>
                </c:pt>
                <c:pt idx="164">
                  <c:v>14.03.22</c:v>
                </c:pt>
                <c:pt idx="165">
                  <c:v>15.03.22</c:v>
                </c:pt>
                <c:pt idx="166">
                  <c:v>16.03.22</c:v>
                </c:pt>
                <c:pt idx="167">
                  <c:v>17.03.22</c:v>
                </c:pt>
                <c:pt idx="168">
                  <c:v>18.03.22</c:v>
                </c:pt>
                <c:pt idx="169">
                  <c:v>19.03.22</c:v>
                </c:pt>
                <c:pt idx="170">
                  <c:v>20.03.22</c:v>
                </c:pt>
                <c:pt idx="171">
                  <c:v>21.03.22</c:v>
                </c:pt>
                <c:pt idx="172">
                  <c:v>22.03.22</c:v>
                </c:pt>
                <c:pt idx="173">
                  <c:v>23.03.22</c:v>
                </c:pt>
                <c:pt idx="174">
                  <c:v>24.03.22</c:v>
                </c:pt>
                <c:pt idx="175">
                  <c:v>25.03.22</c:v>
                </c:pt>
                <c:pt idx="176">
                  <c:v>26.03.22</c:v>
                </c:pt>
                <c:pt idx="177">
                  <c:v>27.03.22</c:v>
                </c:pt>
                <c:pt idx="178">
                  <c:v>28.03.22</c:v>
                </c:pt>
                <c:pt idx="179">
                  <c:v>29.03.22</c:v>
                </c:pt>
                <c:pt idx="180">
                  <c:v>30.03.22</c:v>
                </c:pt>
                <c:pt idx="181">
                  <c:v>31.03.22</c:v>
                </c:pt>
                <c:pt idx="182">
                  <c:v>01.04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90</c:v>
                </c:pt>
                <c:pt idx="1">
                  <c:v>94</c:v>
                </c:pt>
                <c:pt idx="2">
                  <c:v>94</c:v>
                </c:pt>
                <c:pt idx="3">
                  <c:v>93</c:v>
                </c:pt>
                <c:pt idx="4">
                  <c:v>92</c:v>
                </c:pt>
                <c:pt idx="5">
                  <c:v>93</c:v>
                </c:pt>
                <c:pt idx="6">
                  <c:v>98</c:v>
                </c:pt>
                <c:pt idx="7">
                  <c:v>101</c:v>
                </c:pt>
                <c:pt idx="8">
                  <c:v>102</c:v>
                </c:pt>
                <c:pt idx="9">
                  <c:v>101</c:v>
                </c:pt>
                <c:pt idx="10">
                  <c:v>95</c:v>
                </c:pt>
                <c:pt idx="11">
                  <c:v>104</c:v>
                </c:pt>
                <c:pt idx="12">
                  <c:v>101</c:v>
                </c:pt>
                <c:pt idx="13">
                  <c:v>104</c:v>
                </c:pt>
                <c:pt idx="14">
                  <c:v>107</c:v>
                </c:pt>
                <c:pt idx="15">
                  <c:v>110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54</c:v>
                </c:pt>
                <c:pt idx="20">
                  <c:v>161</c:v>
                </c:pt>
                <c:pt idx="21">
                  <c:v>172</c:v>
                </c:pt>
                <c:pt idx="22">
                  <c:v>185</c:v>
                </c:pt>
                <c:pt idx="23">
                  <c:v>195</c:v>
                </c:pt>
                <c:pt idx="24">
                  <c:v>220</c:v>
                </c:pt>
                <c:pt idx="25">
                  <c:v>227</c:v>
                </c:pt>
                <c:pt idx="26">
                  <c:v>248</c:v>
                </c:pt>
                <c:pt idx="27">
                  <c:v>262</c:v>
                </c:pt>
                <c:pt idx="28">
                  <c:v>292</c:v>
                </c:pt>
                <c:pt idx="29">
                  <c:v>308</c:v>
                </c:pt>
                <c:pt idx="30">
                  <c:v>314</c:v>
                </c:pt>
                <c:pt idx="31">
                  <c:v>353</c:v>
                </c:pt>
                <c:pt idx="32">
                  <c:v>374</c:v>
                </c:pt>
                <c:pt idx="33">
                  <c:v>397</c:v>
                </c:pt>
                <c:pt idx="34">
                  <c:v>411</c:v>
                </c:pt>
                <c:pt idx="35">
                  <c:v>429</c:v>
                </c:pt>
                <c:pt idx="36">
                  <c:v>437</c:v>
                </c:pt>
                <c:pt idx="37">
                  <c:v>445</c:v>
                </c:pt>
                <c:pt idx="38">
                  <c:v>466</c:v>
                </c:pt>
                <c:pt idx="39">
                  <c:v>497</c:v>
                </c:pt>
                <c:pt idx="40">
                  <c:v>511</c:v>
                </c:pt>
                <c:pt idx="41">
                  <c:v>543</c:v>
                </c:pt>
                <c:pt idx="42">
                  <c:v>541</c:v>
                </c:pt>
                <c:pt idx="43">
                  <c:v>575</c:v>
                </c:pt>
                <c:pt idx="44">
                  <c:v>580</c:v>
                </c:pt>
                <c:pt idx="45">
                  <c:v>580</c:v>
                </c:pt>
                <c:pt idx="46">
                  <c:v>605</c:v>
                </c:pt>
                <c:pt idx="47">
                  <c:v>610</c:v>
                </c:pt>
                <c:pt idx="48">
                  <c:v>634</c:v>
                </c:pt>
                <c:pt idx="49">
                  <c:v>675</c:v>
                </c:pt>
                <c:pt idx="50">
                  <c:v>704</c:v>
                </c:pt>
                <c:pt idx="51">
                  <c:v>709</c:v>
                </c:pt>
                <c:pt idx="52">
                  <c:v>706</c:v>
                </c:pt>
                <c:pt idx="53">
                  <c:v>742</c:v>
                </c:pt>
                <c:pt idx="54">
                  <c:v>730</c:v>
                </c:pt>
                <c:pt idx="55">
                  <c:v>748</c:v>
                </c:pt>
                <c:pt idx="56">
                  <c:v>737</c:v>
                </c:pt>
                <c:pt idx="57">
                  <c:v>744</c:v>
                </c:pt>
                <c:pt idx="58">
                  <c:v>757</c:v>
                </c:pt>
                <c:pt idx="59">
                  <c:v>747</c:v>
                </c:pt>
                <c:pt idx="60">
                  <c:v>741</c:v>
                </c:pt>
                <c:pt idx="61">
                  <c:v>758</c:v>
                </c:pt>
                <c:pt idx="62">
                  <c:v>731</c:v>
                </c:pt>
                <c:pt idx="63">
                  <c:v>703</c:v>
                </c:pt>
                <c:pt idx="64">
                  <c:v>696</c:v>
                </c:pt>
                <c:pt idx="65">
                  <c:v>678</c:v>
                </c:pt>
                <c:pt idx="66">
                  <c:v>637</c:v>
                </c:pt>
                <c:pt idx="67">
                  <c:v>618</c:v>
                </c:pt>
                <c:pt idx="68">
                  <c:v>606</c:v>
                </c:pt>
                <c:pt idx="69">
                  <c:v>579</c:v>
                </c:pt>
                <c:pt idx="70">
                  <c:v>559</c:v>
                </c:pt>
                <c:pt idx="71">
                  <c:v>548</c:v>
                </c:pt>
                <c:pt idx="72">
                  <c:v>528</c:v>
                </c:pt>
                <c:pt idx="73">
                  <c:v>496</c:v>
                </c:pt>
                <c:pt idx="74">
                  <c:v>474</c:v>
                </c:pt>
                <c:pt idx="75">
                  <c:v>451</c:v>
                </c:pt>
                <c:pt idx="76">
                  <c:v>424</c:v>
                </c:pt>
                <c:pt idx="77">
                  <c:v>400</c:v>
                </c:pt>
                <c:pt idx="78">
                  <c:v>397</c:v>
                </c:pt>
                <c:pt idx="79">
                  <c:v>395</c:v>
                </c:pt>
                <c:pt idx="80">
                  <c:v>370</c:v>
                </c:pt>
                <c:pt idx="81">
                  <c:v>369</c:v>
                </c:pt>
                <c:pt idx="82">
                  <c:v>354</c:v>
                </c:pt>
                <c:pt idx="83">
                  <c:v>345</c:v>
                </c:pt>
                <c:pt idx="84">
                  <c:v>318</c:v>
                </c:pt>
                <c:pt idx="85">
                  <c:v>315</c:v>
                </c:pt>
                <c:pt idx="86">
                  <c:v>311</c:v>
                </c:pt>
                <c:pt idx="87">
                  <c:v>302</c:v>
                </c:pt>
                <c:pt idx="88">
                  <c:v>309</c:v>
                </c:pt>
                <c:pt idx="89">
                  <c:v>312</c:v>
                </c:pt>
                <c:pt idx="90">
                  <c:v>313</c:v>
                </c:pt>
                <c:pt idx="91">
                  <c:v>309</c:v>
                </c:pt>
                <c:pt idx="92">
                  <c:v>299</c:v>
                </c:pt>
                <c:pt idx="93">
                  <c:v>307</c:v>
                </c:pt>
                <c:pt idx="94">
                  <c:v>306</c:v>
                </c:pt>
                <c:pt idx="95">
                  <c:v>310</c:v>
                </c:pt>
                <c:pt idx="96">
                  <c:v>313</c:v>
                </c:pt>
                <c:pt idx="97">
                  <c:v>321</c:v>
                </c:pt>
                <c:pt idx="98">
                  <c:v>334</c:v>
                </c:pt>
                <c:pt idx="99">
                  <c:v>337</c:v>
                </c:pt>
                <c:pt idx="100">
                  <c:v>343</c:v>
                </c:pt>
                <c:pt idx="101">
                  <c:v>342</c:v>
                </c:pt>
                <c:pt idx="102">
                  <c:v>359</c:v>
                </c:pt>
                <c:pt idx="103">
                  <c:v>409</c:v>
                </c:pt>
                <c:pt idx="104">
                  <c:v>425</c:v>
                </c:pt>
                <c:pt idx="105">
                  <c:v>454</c:v>
                </c:pt>
                <c:pt idx="106">
                  <c:v>473</c:v>
                </c:pt>
                <c:pt idx="107">
                  <c:v>492</c:v>
                </c:pt>
                <c:pt idx="108">
                  <c:v>566</c:v>
                </c:pt>
                <c:pt idx="109">
                  <c:v>633</c:v>
                </c:pt>
                <c:pt idx="110">
                  <c:v>721</c:v>
                </c:pt>
                <c:pt idx="111">
                  <c:v>810</c:v>
                </c:pt>
                <c:pt idx="112">
                  <c:v>818</c:v>
                </c:pt>
                <c:pt idx="113">
                  <c:v>802</c:v>
                </c:pt>
                <c:pt idx="114">
                  <c:v>819</c:v>
                </c:pt>
                <c:pt idx="115">
                  <c:v>910</c:v>
                </c:pt>
                <c:pt idx="116">
                  <c:v>1021</c:v>
                </c:pt>
                <c:pt idx="117">
                  <c:v>1142</c:v>
                </c:pt>
                <c:pt idx="118">
                  <c:v>1161</c:v>
                </c:pt>
                <c:pt idx="119">
                  <c:v>1213</c:v>
                </c:pt>
                <c:pt idx="120">
                  <c:v>1162</c:v>
                </c:pt>
                <c:pt idx="121">
                  <c:v>1162</c:v>
                </c:pt>
                <c:pt idx="122">
                  <c:v>1235</c:v>
                </c:pt>
                <c:pt idx="123">
                  <c:v>1374</c:v>
                </c:pt>
                <c:pt idx="124">
                  <c:v>1423</c:v>
                </c:pt>
                <c:pt idx="125">
                  <c:v>1362</c:v>
                </c:pt>
                <c:pt idx="126">
                  <c:v>1296</c:v>
                </c:pt>
                <c:pt idx="127">
                  <c:v>1241</c:v>
                </c:pt>
                <c:pt idx="128">
                  <c:v>1156</c:v>
                </c:pt>
                <c:pt idx="129">
                  <c:v>1160</c:v>
                </c:pt>
                <c:pt idx="130">
                  <c:v>1205</c:v>
                </c:pt>
                <c:pt idx="131">
                  <c:v>1201</c:v>
                </c:pt>
                <c:pt idx="132">
                  <c:v>1084</c:v>
                </c:pt>
                <c:pt idx="133">
                  <c:v>1023</c:v>
                </c:pt>
                <c:pt idx="134">
                  <c:v>908</c:v>
                </c:pt>
                <c:pt idx="135">
                  <c:v>828</c:v>
                </c:pt>
                <c:pt idx="136">
                  <c:v>850</c:v>
                </c:pt>
                <c:pt idx="137">
                  <c:v>880</c:v>
                </c:pt>
                <c:pt idx="138">
                  <c:v>896</c:v>
                </c:pt>
                <c:pt idx="139">
                  <c:v>813</c:v>
                </c:pt>
                <c:pt idx="140">
                  <c:v>767</c:v>
                </c:pt>
                <c:pt idx="141">
                  <c:v>720</c:v>
                </c:pt>
                <c:pt idx="142">
                  <c:v>652</c:v>
                </c:pt>
                <c:pt idx="143">
                  <c:v>641</c:v>
                </c:pt>
                <c:pt idx="144">
                  <c:v>648</c:v>
                </c:pt>
                <c:pt idx="145">
                  <c:v>653</c:v>
                </c:pt>
                <c:pt idx="146">
                  <c:v>565</c:v>
                </c:pt>
                <c:pt idx="147">
                  <c:v>519</c:v>
                </c:pt>
                <c:pt idx="148">
                  <c:v>485</c:v>
                </c:pt>
                <c:pt idx="149">
                  <c:v>450</c:v>
                </c:pt>
                <c:pt idx="150">
                  <c:v>462</c:v>
                </c:pt>
                <c:pt idx="151">
                  <c:v>466</c:v>
                </c:pt>
                <c:pt idx="152">
                  <c:v>488</c:v>
                </c:pt>
                <c:pt idx="153">
                  <c:v>462</c:v>
                </c:pt>
                <c:pt idx="154">
                  <c:v>445</c:v>
                </c:pt>
                <c:pt idx="155">
                  <c:v>430</c:v>
                </c:pt>
                <c:pt idx="156">
                  <c:v>410</c:v>
                </c:pt>
                <c:pt idx="157">
                  <c:v>439</c:v>
                </c:pt>
                <c:pt idx="158">
                  <c:v>473</c:v>
                </c:pt>
                <c:pt idx="159">
                  <c:v>493</c:v>
                </c:pt>
                <c:pt idx="160">
                  <c:v>464</c:v>
                </c:pt>
                <c:pt idx="161">
                  <c:v>449</c:v>
                </c:pt>
                <c:pt idx="162">
                  <c:v>417</c:v>
                </c:pt>
                <c:pt idx="163">
                  <c:v>406</c:v>
                </c:pt>
                <c:pt idx="164">
                  <c:v>444</c:v>
                </c:pt>
                <c:pt idx="165">
                  <c:v>464</c:v>
                </c:pt>
                <c:pt idx="166">
                  <c:v>486</c:v>
                </c:pt>
                <c:pt idx="167">
                  <c:v>450</c:v>
                </c:pt>
                <c:pt idx="168">
                  <c:v>439</c:v>
                </c:pt>
                <c:pt idx="169">
                  <c:v>399</c:v>
                </c:pt>
                <c:pt idx="170">
                  <c:v>378</c:v>
                </c:pt>
                <c:pt idx="171">
                  <c:v>427</c:v>
                </c:pt>
                <c:pt idx="172">
                  <c:v>468</c:v>
                </c:pt>
                <c:pt idx="173">
                  <c:v>482</c:v>
                </c:pt>
                <c:pt idx="174">
                  <c:v>452</c:v>
                </c:pt>
                <c:pt idx="175">
                  <c:v>433</c:v>
                </c:pt>
                <c:pt idx="176">
                  <c:v>397</c:v>
                </c:pt>
                <c:pt idx="177">
                  <c:v>384</c:v>
                </c:pt>
                <c:pt idx="178">
                  <c:v>402</c:v>
                </c:pt>
                <c:pt idx="179">
                  <c:v>447</c:v>
                </c:pt>
                <c:pt idx="180">
                  <c:v>475</c:v>
                </c:pt>
                <c:pt idx="181">
                  <c:v>433</c:v>
                </c:pt>
                <c:pt idx="182">
                  <c:v>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9.325021500076717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2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01.10.21</c:v>
                </c:pt>
                <c:pt idx="1">
                  <c:v>02.10.21</c:v>
                </c:pt>
                <c:pt idx="2">
                  <c:v>03.10.21</c:v>
                </c:pt>
                <c:pt idx="3">
                  <c:v>04.10.21</c:v>
                </c:pt>
                <c:pt idx="4">
                  <c:v>05.10.21</c:v>
                </c:pt>
                <c:pt idx="5">
                  <c:v>06.10.21</c:v>
                </c:pt>
                <c:pt idx="6">
                  <c:v>07.10.21</c:v>
                </c:pt>
                <c:pt idx="7">
                  <c:v>08.10.21</c:v>
                </c:pt>
                <c:pt idx="8">
                  <c:v>09.10.21</c:v>
                </c:pt>
                <c:pt idx="9">
                  <c:v>10.10.21</c:v>
                </c:pt>
                <c:pt idx="10">
                  <c:v>11.10.21</c:v>
                </c:pt>
                <c:pt idx="11">
                  <c:v>12.10.21</c:v>
                </c:pt>
                <c:pt idx="12">
                  <c:v>13.10.21</c:v>
                </c:pt>
                <c:pt idx="13">
                  <c:v>14.10.21</c:v>
                </c:pt>
                <c:pt idx="14">
                  <c:v>15.10.21</c:v>
                </c:pt>
                <c:pt idx="15">
                  <c:v>16.10.21</c:v>
                </c:pt>
                <c:pt idx="16">
                  <c:v>17.10.21</c:v>
                </c:pt>
                <c:pt idx="17">
                  <c:v>18.10.21</c:v>
                </c:pt>
                <c:pt idx="18">
                  <c:v>19.10.21</c:v>
                </c:pt>
                <c:pt idx="19">
                  <c:v>20.10.21</c:v>
                </c:pt>
                <c:pt idx="20">
                  <c:v>21.10.21</c:v>
                </c:pt>
                <c:pt idx="21">
                  <c:v>22.10.21</c:v>
                </c:pt>
                <c:pt idx="22">
                  <c:v>23.10.21</c:v>
                </c:pt>
                <c:pt idx="23">
                  <c:v>24.10.21</c:v>
                </c:pt>
                <c:pt idx="24">
                  <c:v>25.10.21</c:v>
                </c:pt>
                <c:pt idx="25">
                  <c:v>26.10.21</c:v>
                </c:pt>
                <c:pt idx="26">
                  <c:v>27.10.21</c:v>
                </c:pt>
                <c:pt idx="27">
                  <c:v>28.10.21</c:v>
                </c:pt>
                <c:pt idx="28">
                  <c:v>29.10.21</c:v>
                </c:pt>
                <c:pt idx="29">
                  <c:v>30.10.21</c:v>
                </c:pt>
                <c:pt idx="30">
                  <c:v>31.10.21</c:v>
                </c:pt>
                <c:pt idx="31">
                  <c:v>01.11.21</c:v>
                </c:pt>
                <c:pt idx="32">
                  <c:v>02.11.21</c:v>
                </c:pt>
                <c:pt idx="33">
                  <c:v>03.11.21</c:v>
                </c:pt>
                <c:pt idx="34">
                  <c:v>04.11.21</c:v>
                </c:pt>
                <c:pt idx="35">
                  <c:v>05.11.21</c:v>
                </c:pt>
                <c:pt idx="36">
                  <c:v>06.11.21</c:v>
                </c:pt>
                <c:pt idx="37">
                  <c:v>07.11.21</c:v>
                </c:pt>
                <c:pt idx="38">
                  <c:v>08.11.21</c:v>
                </c:pt>
                <c:pt idx="39">
                  <c:v>09.11.21</c:v>
                </c:pt>
                <c:pt idx="40">
                  <c:v>10.11.21</c:v>
                </c:pt>
                <c:pt idx="41">
                  <c:v>11.11.21</c:v>
                </c:pt>
                <c:pt idx="42">
                  <c:v>12.11.21</c:v>
                </c:pt>
                <c:pt idx="43">
                  <c:v>13.11.21</c:v>
                </c:pt>
                <c:pt idx="44">
                  <c:v>14.11.21</c:v>
                </c:pt>
                <c:pt idx="45">
                  <c:v>15.11.21</c:v>
                </c:pt>
                <c:pt idx="46">
                  <c:v>16.11.21</c:v>
                </c:pt>
                <c:pt idx="47">
                  <c:v>17.11.21</c:v>
                </c:pt>
                <c:pt idx="48">
                  <c:v>18.11.21</c:v>
                </c:pt>
                <c:pt idx="49">
                  <c:v>19.11.21</c:v>
                </c:pt>
                <c:pt idx="50">
                  <c:v>20.11.21</c:v>
                </c:pt>
                <c:pt idx="51">
                  <c:v>21.11.21</c:v>
                </c:pt>
                <c:pt idx="52">
                  <c:v>22.11.21</c:v>
                </c:pt>
                <c:pt idx="53">
                  <c:v>23.11.21</c:v>
                </c:pt>
                <c:pt idx="54">
                  <c:v>24.11.21</c:v>
                </c:pt>
                <c:pt idx="55">
                  <c:v>25.11.21</c:v>
                </c:pt>
                <c:pt idx="56">
                  <c:v>26.11.21</c:v>
                </c:pt>
                <c:pt idx="57">
                  <c:v>27.11.21</c:v>
                </c:pt>
                <c:pt idx="58">
                  <c:v>28.11.21</c:v>
                </c:pt>
                <c:pt idx="59">
                  <c:v>29.11.21</c:v>
                </c:pt>
                <c:pt idx="60">
                  <c:v>30.11.21</c:v>
                </c:pt>
                <c:pt idx="61">
                  <c:v>01.12.21</c:v>
                </c:pt>
                <c:pt idx="62">
                  <c:v>02.12.21</c:v>
                </c:pt>
                <c:pt idx="63">
                  <c:v>03.12.21</c:v>
                </c:pt>
                <c:pt idx="64">
                  <c:v>04.12.21</c:v>
                </c:pt>
                <c:pt idx="65">
                  <c:v>05.12.21</c:v>
                </c:pt>
                <c:pt idx="66">
                  <c:v>06.12.21</c:v>
                </c:pt>
                <c:pt idx="67">
                  <c:v>07.12.21</c:v>
                </c:pt>
                <c:pt idx="68">
                  <c:v>08.12.21</c:v>
                </c:pt>
                <c:pt idx="69">
                  <c:v>09.12.21</c:v>
                </c:pt>
                <c:pt idx="70">
                  <c:v>10.12.21</c:v>
                </c:pt>
                <c:pt idx="71">
                  <c:v>11.12.21</c:v>
                </c:pt>
                <c:pt idx="72">
                  <c:v>12.12.21</c:v>
                </c:pt>
                <c:pt idx="73">
                  <c:v>13.12.21</c:v>
                </c:pt>
                <c:pt idx="74">
                  <c:v>14.12.21</c:v>
                </c:pt>
                <c:pt idx="75">
                  <c:v>15.12.21</c:v>
                </c:pt>
                <c:pt idx="76">
                  <c:v>16.12.21</c:v>
                </c:pt>
                <c:pt idx="77">
                  <c:v>17.12.21</c:v>
                </c:pt>
                <c:pt idx="78">
                  <c:v>18.12.21</c:v>
                </c:pt>
                <c:pt idx="79">
                  <c:v>19.12.21</c:v>
                </c:pt>
                <c:pt idx="80">
                  <c:v>20.12.21</c:v>
                </c:pt>
                <c:pt idx="81">
                  <c:v>21.12.21</c:v>
                </c:pt>
                <c:pt idx="82">
                  <c:v>22.12.21</c:v>
                </c:pt>
                <c:pt idx="83">
                  <c:v>23.12.21</c:v>
                </c:pt>
                <c:pt idx="84">
                  <c:v>24.12.21</c:v>
                </c:pt>
                <c:pt idx="85">
                  <c:v>25.12.21</c:v>
                </c:pt>
                <c:pt idx="86">
                  <c:v>26.12.21</c:v>
                </c:pt>
                <c:pt idx="87">
                  <c:v>27.12.21</c:v>
                </c:pt>
                <c:pt idx="88">
                  <c:v>28.12.21</c:v>
                </c:pt>
                <c:pt idx="89">
                  <c:v>29.12.21</c:v>
                </c:pt>
                <c:pt idx="90">
                  <c:v>30.12.21</c:v>
                </c:pt>
                <c:pt idx="91">
                  <c:v>31.12.21</c:v>
                </c:pt>
                <c:pt idx="92">
                  <c:v>01.01.22</c:v>
                </c:pt>
                <c:pt idx="93">
                  <c:v>02.01.22</c:v>
                </c:pt>
                <c:pt idx="94">
                  <c:v>03.01.22</c:v>
                </c:pt>
                <c:pt idx="95">
                  <c:v>04.01.22</c:v>
                </c:pt>
                <c:pt idx="96">
                  <c:v>05.01.22</c:v>
                </c:pt>
                <c:pt idx="97">
                  <c:v>06.01.22</c:v>
                </c:pt>
                <c:pt idx="98">
                  <c:v>07.01.22</c:v>
                </c:pt>
                <c:pt idx="99">
                  <c:v>08.01.22</c:v>
                </c:pt>
                <c:pt idx="100">
                  <c:v>09.01.22</c:v>
                </c:pt>
                <c:pt idx="101">
                  <c:v>10.01.22</c:v>
                </c:pt>
                <c:pt idx="102">
                  <c:v>11.01.22</c:v>
                </c:pt>
                <c:pt idx="103">
                  <c:v>12.01.22</c:v>
                </c:pt>
                <c:pt idx="104">
                  <c:v>13.01.22</c:v>
                </c:pt>
                <c:pt idx="105">
                  <c:v>14.01.22</c:v>
                </c:pt>
                <c:pt idx="106">
                  <c:v>15.01.22</c:v>
                </c:pt>
                <c:pt idx="107">
                  <c:v>16.01.22</c:v>
                </c:pt>
                <c:pt idx="108">
                  <c:v>17.01.22</c:v>
                </c:pt>
                <c:pt idx="109">
                  <c:v>18.01.22</c:v>
                </c:pt>
                <c:pt idx="110">
                  <c:v>19.01.22</c:v>
                </c:pt>
                <c:pt idx="111">
                  <c:v>20.01.22</c:v>
                </c:pt>
                <c:pt idx="112">
                  <c:v>21.01.22</c:v>
                </c:pt>
                <c:pt idx="113">
                  <c:v>22.01.22</c:v>
                </c:pt>
                <c:pt idx="114">
                  <c:v>23.01.22</c:v>
                </c:pt>
                <c:pt idx="115">
                  <c:v>24.01.22</c:v>
                </c:pt>
                <c:pt idx="116">
                  <c:v>25.01.22</c:v>
                </c:pt>
                <c:pt idx="117">
                  <c:v>26.01.22</c:v>
                </c:pt>
                <c:pt idx="118">
                  <c:v>27.01.22</c:v>
                </c:pt>
                <c:pt idx="119">
                  <c:v>28.01.22</c:v>
                </c:pt>
                <c:pt idx="120">
                  <c:v>29.01.22</c:v>
                </c:pt>
                <c:pt idx="121">
                  <c:v>30.01.22</c:v>
                </c:pt>
                <c:pt idx="122">
                  <c:v>31.01.22</c:v>
                </c:pt>
                <c:pt idx="123">
                  <c:v>01.02.22</c:v>
                </c:pt>
                <c:pt idx="124">
                  <c:v>02.02.22</c:v>
                </c:pt>
                <c:pt idx="125">
                  <c:v>03.02.22</c:v>
                </c:pt>
                <c:pt idx="126">
                  <c:v>04.02.22</c:v>
                </c:pt>
                <c:pt idx="127">
                  <c:v>05.02.22</c:v>
                </c:pt>
                <c:pt idx="128">
                  <c:v>06.02.22</c:v>
                </c:pt>
                <c:pt idx="129">
                  <c:v>07.02.22</c:v>
                </c:pt>
                <c:pt idx="130">
                  <c:v>08.02.22</c:v>
                </c:pt>
                <c:pt idx="131">
                  <c:v>09.02.22</c:v>
                </c:pt>
                <c:pt idx="132">
                  <c:v>10.02.22</c:v>
                </c:pt>
                <c:pt idx="133">
                  <c:v>11.02.22</c:v>
                </c:pt>
                <c:pt idx="134">
                  <c:v>12.02.22</c:v>
                </c:pt>
                <c:pt idx="135">
                  <c:v>13.02.22</c:v>
                </c:pt>
                <c:pt idx="136">
                  <c:v>14.02.22</c:v>
                </c:pt>
                <c:pt idx="137">
                  <c:v>15.02.22</c:v>
                </c:pt>
                <c:pt idx="138">
                  <c:v>16.02.22</c:v>
                </c:pt>
                <c:pt idx="139">
                  <c:v>17.02.22</c:v>
                </c:pt>
                <c:pt idx="140">
                  <c:v>18.02.22</c:v>
                </c:pt>
                <c:pt idx="141">
                  <c:v>19.02.22</c:v>
                </c:pt>
                <c:pt idx="142">
                  <c:v>20.02.22</c:v>
                </c:pt>
                <c:pt idx="143">
                  <c:v>21.02.22</c:v>
                </c:pt>
                <c:pt idx="144">
                  <c:v>22.02.22</c:v>
                </c:pt>
                <c:pt idx="145">
                  <c:v>23.02.22</c:v>
                </c:pt>
                <c:pt idx="146">
                  <c:v>24.02.22</c:v>
                </c:pt>
                <c:pt idx="147">
                  <c:v>25.02.22</c:v>
                </c:pt>
                <c:pt idx="148">
                  <c:v>26.02.22</c:v>
                </c:pt>
                <c:pt idx="149">
                  <c:v>27.02.22</c:v>
                </c:pt>
                <c:pt idx="150">
                  <c:v>28.02.22</c:v>
                </c:pt>
                <c:pt idx="151">
                  <c:v>01.03.22</c:v>
                </c:pt>
                <c:pt idx="152">
                  <c:v>02.03.22</c:v>
                </c:pt>
                <c:pt idx="153">
                  <c:v>03.03.22</c:v>
                </c:pt>
                <c:pt idx="154">
                  <c:v>04.03.22</c:v>
                </c:pt>
                <c:pt idx="155">
                  <c:v>05.03.22</c:v>
                </c:pt>
                <c:pt idx="156">
                  <c:v>06.03.22</c:v>
                </c:pt>
                <c:pt idx="157">
                  <c:v>07.03.22</c:v>
                </c:pt>
                <c:pt idx="158">
                  <c:v>08.03.22</c:v>
                </c:pt>
                <c:pt idx="159">
                  <c:v>09.03.22</c:v>
                </c:pt>
                <c:pt idx="160">
                  <c:v>10.03.22</c:v>
                </c:pt>
                <c:pt idx="161">
                  <c:v>11.03.22</c:v>
                </c:pt>
                <c:pt idx="162">
                  <c:v>12.03.22</c:v>
                </c:pt>
                <c:pt idx="163">
                  <c:v>13.03.22</c:v>
                </c:pt>
                <c:pt idx="164">
                  <c:v>14.03.22</c:v>
                </c:pt>
                <c:pt idx="165">
                  <c:v>15.03.22</c:v>
                </c:pt>
                <c:pt idx="166">
                  <c:v>16.03.22</c:v>
                </c:pt>
                <c:pt idx="167">
                  <c:v>17.03.22</c:v>
                </c:pt>
                <c:pt idx="168">
                  <c:v>18.03.22</c:v>
                </c:pt>
                <c:pt idx="169">
                  <c:v>19.03.22</c:v>
                </c:pt>
                <c:pt idx="170">
                  <c:v>20.03.22</c:v>
                </c:pt>
                <c:pt idx="171">
                  <c:v>21.03.22</c:v>
                </c:pt>
                <c:pt idx="172">
                  <c:v>22.03.22</c:v>
                </c:pt>
                <c:pt idx="173">
                  <c:v>23.03.22</c:v>
                </c:pt>
                <c:pt idx="174">
                  <c:v>24.03.22</c:v>
                </c:pt>
                <c:pt idx="175">
                  <c:v>25.03.22</c:v>
                </c:pt>
                <c:pt idx="176">
                  <c:v>26.03.22</c:v>
                </c:pt>
                <c:pt idx="177">
                  <c:v>27.03.22</c:v>
                </c:pt>
                <c:pt idx="178">
                  <c:v>28.03.22</c:v>
                </c:pt>
                <c:pt idx="179">
                  <c:v>29.03.22</c:v>
                </c:pt>
                <c:pt idx="180">
                  <c:v>30.03.22</c:v>
                </c:pt>
                <c:pt idx="181">
                  <c:v>31.03.22</c:v>
                </c:pt>
                <c:pt idx="182">
                  <c:v>01.04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210</c:v>
                </c:pt>
                <c:pt idx="1">
                  <c:v>211</c:v>
                </c:pt>
                <c:pt idx="2">
                  <c:v>218</c:v>
                </c:pt>
                <c:pt idx="3">
                  <c:v>217</c:v>
                </c:pt>
                <c:pt idx="4">
                  <c:v>226</c:v>
                </c:pt>
                <c:pt idx="5">
                  <c:v>230</c:v>
                </c:pt>
                <c:pt idx="6">
                  <c:v>232</c:v>
                </c:pt>
                <c:pt idx="7">
                  <c:v>233</c:v>
                </c:pt>
                <c:pt idx="8">
                  <c:v>233</c:v>
                </c:pt>
                <c:pt idx="9">
                  <c:v>231</c:v>
                </c:pt>
                <c:pt idx="10">
                  <c:v>242</c:v>
                </c:pt>
                <c:pt idx="11">
                  <c:v>254</c:v>
                </c:pt>
                <c:pt idx="12">
                  <c:v>255</c:v>
                </c:pt>
                <c:pt idx="13">
                  <c:v>265</c:v>
                </c:pt>
                <c:pt idx="14">
                  <c:v>275</c:v>
                </c:pt>
                <c:pt idx="15">
                  <c:v>280</c:v>
                </c:pt>
                <c:pt idx="16">
                  <c:v>283</c:v>
                </c:pt>
                <c:pt idx="17">
                  <c:v>305</c:v>
                </c:pt>
                <c:pt idx="18">
                  <c:v>315</c:v>
                </c:pt>
                <c:pt idx="19">
                  <c:v>333</c:v>
                </c:pt>
                <c:pt idx="20">
                  <c:v>372</c:v>
                </c:pt>
                <c:pt idx="21">
                  <c:v>399</c:v>
                </c:pt>
                <c:pt idx="22">
                  <c:v>428</c:v>
                </c:pt>
                <c:pt idx="23">
                  <c:v>432</c:v>
                </c:pt>
                <c:pt idx="24">
                  <c:v>475</c:v>
                </c:pt>
                <c:pt idx="25">
                  <c:v>521</c:v>
                </c:pt>
                <c:pt idx="26">
                  <c:v>570</c:v>
                </c:pt>
                <c:pt idx="27">
                  <c:v>583</c:v>
                </c:pt>
                <c:pt idx="28">
                  <c:v>643</c:v>
                </c:pt>
                <c:pt idx="29">
                  <c:v>689</c:v>
                </c:pt>
                <c:pt idx="30">
                  <c:v>716</c:v>
                </c:pt>
                <c:pt idx="31">
                  <c:v>777</c:v>
                </c:pt>
                <c:pt idx="32">
                  <c:v>858</c:v>
                </c:pt>
                <c:pt idx="33">
                  <c:v>930</c:v>
                </c:pt>
                <c:pt idx="34">
                  <c:v>974</c:v>
                </c:pt>
                <c:pt idx="35">
                  <c:v>1045</c:v>
                </c:pt>
                <c:pt idx="36">
                  <c:v>1101</c:v>
                </c:pt>
                <c:pt idx="37">
                  <c:v>1102</c:v>
                </c:pt>
                <c:pt idx="38">
                  <c:v>1143</c:v>
                </c:pt>
                <c:pt idx="39">
                  <c:v>1221</c:v>
                </c:pt>
                <c:pt idx="40">
                  <c:v>1323</c:v>
                </c:pt>
                <c:pt idx="41">
                  <c:v>1380</c:v>
                </c:pt>
                <c:pt idx="42">
                  <c:v>1449</c:v>
                </c:pt>
                <c:pt idx="43">
                  <c:v>1487</c:v>
                </c:pt>
                <c:pt idx="44">
                  <c:v>1495</c:v>
                </c:pt>
                <c:pt idx="45">
                  <c:v>1527</c:v>
                </c:pt>
                <c:pt idx="46">
                  <c:v>1639</c:v>
                </c:pt>
                <c:pt idx="47">
                  <c:v>1642</c:v>
                </c:pt>
                <c:pt idx="48">
                  <c:v>1700</c:v>
                </c:pt>
                <c:pt idx="49">
                  <c:v>1797</c:v>
                </c:pt>
                <c:pt idx="50">
                  <c:v>1894</c:v>
                </c:pt>
                <c:pt idx="51">
                  <c:v>1939</c:v>
                </c:pt>
                <c:pt idx="52">
                  <c:v>1950</c:v>
                </c:pt>
                <c:pt idx="53">
                  <c:v>2054</c:v>
                </c:pt>
                <c:pt idx="54">
                  <c:v>2039</c:v>
                </c:pt>
                <c:pt idx="55">
                  <c:v>2125</c:v>
                </c:pt>
                <c:pt idx="56">
                  <c:v>2155</c:v>
                </c:pt>
                <c:pt idx="57">
                  <c:v>2192</c:v>
                </c:pt>
                <c:pt idx="58">
                  <c:v>2217</c:v>
                </c:pt>
                <c:pt idx="59">
                  <c:v>2178</c:v>
                </c:pt>
                <c:pt idx="60">
                  <c:v>2153</c:v>
                </c:pt>
                <c:pt idx="61">
                  <c:v>2238</c:v>
                </c:pt>
                <c:pt idx="62">
                  <c:v>2162</c:v>
                </c:pt>
                <c:pt idx="63">
                  <c:v>2062</c:v>
                </c:pt>
                <c:pt idx="64">
                  <c:v>2065</c:v>
                </c:pt>
                <c:pt idx="65">
                  <c:v>2050</c:v>
                </c:pt>
                <c:pt idx="66">
                  <c:v>1914</c:v>
                </c:pt>
                <c:pt idx="67">
                  <c:v>1866</c:v>
                </c:pt>
                <c:pt idx="68">
                  <c:v>1813</c:v>
                </c:pt>
                <c:pt idx="69">
                  <c:v>1781</c:v>
                </c:pt>
                <c:pt idx="70">
                  <c:v>1718</c:v>
                </c:pt>
                <c:pt idx="71">
                  <c:v>1716</c:v>
                </c:pt>
                <c:pt idx="72">
                  <c:v>1703</c:v>
                </c:pt>
                <c:pt idx="73">
                  <c:v>1557</c:v>
                </c:pt>
                <c:pt idx="74">
                  <c:v>1528</c:v>
                </c:pt>
                <c:pt idx="75">
                  <c:v>1466</c:v>
                </c:pt>
                <c:pt idx="76">
                  <c:v>1400</c:v>
                </c:pt>
                <c:pt idx="77">
                  <c:v>1343</c:v>
                </c:pt>
                <c:pt idx="78">
                  <c:v>1330</c:v>
                </c:pt>
                <c:pt idx="79">
                  <c:v>1297</c:v>
                </c:pt>
                <c:pt idx="80">
                  <c:v>1190</c:v>
                </c:pt>
                <c:pt idx="81">
                  <c:v>1137</c:v>
                </c:pt>
                <c:pt idx="82">
                  <c:v>1088</c:v>
                </c:pt>
                <c:pt idx="83">
                  <c:v>1048</c:v>
                </c:pt>
                <c:pt idx="84">
                  <c:v>955</c:v>
                </c:pt>
                <c:pt idx="85">
                  <c:v>922</c:v>
                </c:pt>
                <c:pt idx="86">
                  <c:v>884</c:v>
                </c:pt>
                <c:pt idx="87">
                  <c:v>822</c:v>
                </c:pt>
                <c:pt idx="88">
                  <c:v>824</c:v>
                </c:pt>
                <c:pt idx="89">
                  <c:v>806</c:v>
                </c:pt>
                <c:pt idx="90">
                  <c:v>780</c:v>
                </c:pt>
                <c:pt idx="91">
                  <c:v>759</c:v>
                </c:pt>
                <c:pt idx="92">
                  <c:v>738</c:v>
                </c:pt>
                <c:pt idx="93">
                  <c:v>733</c:v>
                </c:pt>
                <c:pt idx="94">
                  <c:v>713</c:v>
                </c:pt>
                <c:pt idx="95">
                  <c:v>727</c:v>
                </c:pt>
                <c:pt idx="96">
                  <c:v>715</c:v>
                </c:pt>
                <c:pt idx="97">
                  <c:v>723</c:v>
                </c:pt>
                <c:pt idx="98">
                  <c:v>767</c:v>
                </c:pt>
                <c:pt idx="99">
                  <c:v>782</c:v>
                </c:pt>
                <c:pt idx="100">
                  <c:v>776</c:v>
                </c:pt>
                <c:pt idx="101">
                  <c:v>738</c:v>
                </c:pt>
                <c:pt idx="102">
                  <c:v>762</c:v>
                </c:pt>
                <c:pt idx="103">
                  <c:v>793</c:v>
                </c:pt>
                <c:pt idx="104">
                  <c:v>827</c:v>
                </c:pt>
                <c:pt idx="105">
                  <c:v>871</c:v>
                </c:pt>
                <c:pt idx="106">
                  <c:v>929</c:v>
                </c:pt>
                <c:pt idx="107">
                  <c:v>927</c:v>
                </c:pt>
                <c:pt idx="108">
                  <c:v>1014</c:v>
                </c:pt>
                <c:pt idx="109">
                  <c:v>1156</c:v>
                </c:pt>
                <c:pt idx="110">
                  <c:v>1303</c:v>
                </c:pt>
                <c:pt idx="111">
                  <c:v>1442</c:v>
                </c:pt>
                <c:pt idx="112">
                  <c:v>1556</c:v>
                </c:pt>
                <c:pt idx="113">
                  <c:v>1584</c:v>
                </c:pt>
                <c:pt idx="114">
                  <c:v>1605</c:v>
                </c:pt>
                <c:pt idx="115">
                  <c:v>1763</c:v>
                </c:pt>
                <c:pt idx="116">
                  <c:v>2032</c:v>
                </c:pt>
                <c:pt idx="117">
                  <c:v>2374</c:v>
                </c:pt>
                <c:pt idx="118">
                  <c:v>2490</c:v>
                </c:pt>
                <c:pt idx="119">
                  <c:v>2722</c:v>
                </c:pt>
                <c:pt idx="120">
                  <c:v>2680</c:v>
                </c:pt>
                <c:pt idx="121">
                  <c:v>2692</c:v>
                </c:pt>
                <c:pt idx="122">
                  <c:v>2913</c:v>
                </c:pt>
                <c:pt idx="123">
                  <c:v>3281</c:v>
                </c:pt>
                <c:pt idx="124">
                  <c:v>3542</c:v>
                </c:pt>
                <c:pt idx="125">
                  <c:v>3482</c:v>
                </c:pt>
                <c:pt idx="126">
                  <c:v>3399</c:v>
                </c:pt>
                <c:pt idx="127">
                  <c:v>3234</c:v>
                </c:pt>
                <c:pt idx="128">
                  <c:v>3014</c:v>
                </c:pt>
                <c:pt idx="129">
                  <c:v>3071</c:v>
                </c:pt>
                <c:pt idx="130">
                  <c:v>3287</c:v>
                </c:pt>
                <c:pt idx="131">
                  <c:v>3389</c:v>
                </c:pt>
                <c:pt idx="132">
                  <c:v>3084</c:v>
                </c:pt>
                <c:pt idx="133">
                  <c:v>2890</c:v>
                </c:pt>
                <c:pt idx="134">
                  <c:v>2673</c:v>
                </c:pt>
                <c:pt idx="135">
                  <c:v>2432</c:v>
                </c:pt>
                <c:pt idx="136">
                  <c:v>2418</c:v>
                </c:pt>
                <c:pt idx="137">
                  <c:v>2567</c:v>
                </c:pt>
                <c:pt idx="138">
                  <c:v>2650</c:v>
                </c:pt>
                <c:pt idx="139">
                  <c:v>2323</c:v>
                </c:pt>
                <c:pt idx="140">
                  <c:v>2202</c:v>
                </c:pt>
                <c:pt idx="141">
                  <c:v>1999</c:v>
                </c:pt>
                <c:pt idx="142">
                  <c:v>1807</c:v>
                </c:pt>
                <c:pt idx="143">
                  <c:v>1798</c:v>
                </c:pt>
                <c:pt idx="144">
                  <c:v>1830</c:v>
                </c:pt>
                <c:pt idx="145">
                  <c:v>1822</c:v>
                </c:pt>
                <c:pt idx="146">
                  <c:v>1587</c:v>
                </c:pt>
                <c:pt idx="147">
                  <c:v>1448</c:v>
                </c:pt>
                <c:pt idx="148">
                  <c:v>1309</c:v>
                </c:pt>
                <c:pt idx="149">
                  <c:v>1170</c:v>
                </c:pt>
                <c:pt idx="150">
                  <c:v>1148</c:v>
                </c:pt>
                <c:pt idx="151">
                  <c:v>1226</c:v>
                </c:pt>
                <c:pt idx="152">
                  <c:v>1258</c:v>
                </c:pt>
                <c:pt idx="153">
                  <c:v>1107</c:v>
                </c:pt>
                <c:pt idx="154">
                  <c:v>1102</c:v>
                </c:pt>
                <c:pt idx="155">
                  <c:v>1046</c:v>
                </c:pt>
                <c:pt idx="156">
                  <c:v>975</c:v>
                </c:pt>
                <c:pt idx="157">
                  <c:v>1026</c:v>
                </c:pt>
                <c:pt idx="158">
                  <c:v>1081</c:v>
                </c:pt>
                <c:pt idx="159">
                  <c:v>1142</c:v>
                </c:pt>
                <c:pt idx="160">
                  <c:v>1084</c:v>
                </c:pt>
                <c:pt idx="161">
                  <c:v>1069</c:v>
                </c:pt>
                <c:pt idx="162">
                  <c:v>1004</c:v>
                </c:pt>
                <c:pt idx="163">
                  <c:v>941</c:v>
                </c:pt>
                <c:pt idx="164">
                  <c:v>979</c:v>
                </c:pt>
                <c:pt idx="165">
                  <c:v>1048</c:v>
                </c:pt>
                <c:pt idx="166">
                  <c:v>1126</c:v>
                </c:pt>
                <c:pt idx="167">
                  <c:v>1034</c:v>
                </c:pt>
                <c:pt idx="168">
                  <c:v>1040</c:v>
                </c:pt>
                <c:pt idx="169">
                  <c:v>977</c:v>
                </c:pt>
                <c:pt idx="170">
                  <c:v>905</c:v>
                </c:pt>
                <c:pt idx="171">
                  <c:v>954</c:v>
                </c:pt>
                <c:pt idx="172">
                  <c:v>1039</c:v>
                </c:pt>
                <c:pt idx="173">
                  <c:v>1091</c:v>
                </c:pt>
                <c:pt idx="174">
                  <c:v>1018</c:v>
                </c:pt>
                <c:pt idx="175">
                  <c:v>995</c:v>
                </c:pt>
                <c:pt idx="176">
                  <c:v>922</c:v>
                </c:pt>
                <c:pt idx="177">
                  <c:v>841</c:v>
                </c:pt>
                <c:pt idx="178">
                  <c:v>905</c:v>
                </c:pt>
                <c:pt idx="179">
                  <c:v>964</c:v>
                </c:pt>
                <c:pt idx="180">
                  <c:v>1007</c:v>
                </c:pt>
                <c:pt idx="181">
                  <c:v>886</c:v>
                </c:pt>
                <c:pt idx="182">
                  <c:v>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1.398776170664249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1.10.21</c:v>
                </c:pt>
                <c:pt idx="1">
                  <c:v>02.10.21</c:v>
                </c:pt>
                <c:pt idx="2">
                  <c:v>03.10.21</c:v>
                </c:pt>
                <c:pt idx="3">
                  <c:v>04.10.21</c:v>
                </c:pt>
                <c:pt idx="4">
                  <c:v>05.10.21</c:v>
                </c:pt>
                <c:pt idx="5">
                  <c:v>06.10.21</c:v>
                </c:pt>
                <c:pt idx="6">
                  <c:v>07.10.21</c:v>
                </c:pt>
                <c:pt idx="7">
                  <c:v>08.10.21</c:v>
                </c:pt>
                <c:pt idx="8">
                  <c:v>09.10.21</c:v>
                </c:pt>
                <c:pt idx="9">
                  <c:v>10.10.21</c:v>
                </c:pt>
                <c:pt idx="10">
                  <c:v>11.10.21</c:v>
                </c:pt>
                <c:pt idx="11">
                  <c:v>12.10.21</c:v>
                </c:pt>
                <c:pt idx="12">
                  <c:v>13.10.21</c:v>
                </c:pt>
                <c:pt idx="13">
                  <c:v>14.10.21</c:v>
                </c:pt>
                <c:pt idx="14">
                  <c:v>15.10.21</c:v>
                </c:pt>
                <c:pt idx="15">
                  <c:v>16.10.21</c:v>
                </c:pt>
                <c:pt idx="16">
                  <c:v>17.10.21</c:v>
                </c:pt>
                <c:pt idx="17">
                  <c:v>18.10.21</c:v>
                </c:pt>
                <c:pt idx="18">
                  <c:v>19.10.21</c:v>
                </c:pt>
                <c:pt idx="19">
                  <c:v>20.10.21</c:v>
                </c:pt>
                <c:pt idx="20">
                  <c:v>21.10.21</c:v>
                </c:pt>
                <c:pt idx="21">
                  <c:v>22.10.21</c:v>
                </c:pt>
                <c:pt idx="22">
                  <c:v>23.10.21</c:v>
                </c:pt>
                <c:pt idx="23">
                  <c:v>24.10.21</c:v>
                </c:pt>
                <c:pt idx="24">
                  <c:v>25.10.21</c:v>
                </c:pt>
                <c:pt idx="25">
                  <c:v>26.10.21</c:v>
                </c:pt>
                <c:pt idx="26">
                  <c:v>27.10.21</c:v>
                </c:pt>
                <c:pt idx="27">
                  <c:v>28.10.21</c:v>
                </c:pt>
                <c:pt idx="28">
                  <c:v>29.10.21</c:v>
                </c:pt>
                <c:pt idx="29">
                  <c:v>30.10.21</c:v>
                </c:pt>
                <c:pt idx="30">
                  <c:v>31.10.21</c:v>
                </c:pt>
                <c:pt idx="31">
                  <c:v>01.11.21</c:v>
                </c:pt>
                <c:pt idx="32">
                  <c:v>02.11.21</c:v>
                </c:pt>
                <c:pt idx="33">
                  <c:v>03.11.21</c:v>
                </c:pt>
                <c:pt idx="34">
                  <c:v>04.11.21</c:v>
                </c:pt>
                <c:pt idx="35">
                  <c:v>05.11.21</c:v>
                </c:pt>
                <c:pt idx="36">
                  <c:v>06.11.21</c:v>
                </c:pt>
                <c:pt idx="37">
                  <c:v>07.11.21</c:v>
                </c:pt>
                <c:pt idx="38">
                  <c:v>08.11.21</c:v>
                </c:pt>
                <c:pt idx="39">
                  <c:v>09.11.21</c:v>
                </c:pt>
                <c:pt idx="40">
                  <c:v>10.11.21</c:v>
                </c:pt>
                <c:pt idx="41">
                  <c:v>11.11.21</c:v>
                </c:pt>
                <c:pt idx="42">
                  <c:v>12.11.21</c:v>
                </c:pt>
                <c:pt idx="43">
                  <c:v>13.11.21</c:v>
                </c:pt>
                <c:pt idx="44">
                  <c:v>14.11.21</c:v>
                </c:pt>
                <c:pt idx="45">
                  <c:v>15.11.21</c:v>
                </c:pt>
                <c:pt idx="46">
                  <c:v>16.11.21</c:v>
                </c:pt>
                <c:pt idx="47">
                  <c:v>17.11.21</c:v>
                </c:pt>
                <c:pt idx="48">
                  <c:v>18.11.21</c:v>
                </c:pt>
                <c:pt idx="49">
                  <c:v>19.11.21</c:v>
                </c:pt>
                <c:pt idx="50">
                  <c:v>20.11.21</c:v>
                </c:pt>
                <c:pt idx="51">
                  <c:v>21.11.21</c:v>
                </c:pt>
                <c:pt idx="52">
                  <c:v>22.11.21</c:v>
                </c:pt>
                <c:pt idx="53">
                  <c:v>23.11.21</c:v>
                </c:pt>
                <c:pt idx="54">
                  <c:v>24.11.21</c:v>
                </c:pt>
                <c:pt idx="55">
                  <c:v>25.11.21</c:v>
                </c:pt>
                <c:pt idx="56">
                  <c:v>26.11.21</c:v>
                </c:pt>
                <c:pt idx="57">
                  <c:v>27.11.21</c:v>
                </c:pt>
                <c:pt idx="58">
                  <c:v>28.11.21</c:v>
                </c:pt>
                <c:pt idx="59">
                  <c:v>29.11.21</c:v>
                </c:pt>
                <c:pt idx="60">
                  <c:v>30.11.21</c:v>
                </c:pt>
                <c:pt idx="61">
                  <c:v>01.12.21</c:v>
                </c:pt>
                <c:pt idx="62">
                  <c:v>02.12.21</c:v>
                </c:pt>
                <c:pt idx="63">
                  <c:v>03.12.21</c:v>
                </c:pt>
                <c:pt idx="64">
                  <c:v>04.12.21</c:v>
                </c:pt>
                <c:pt idx="65">
                  <c:v>05.12.21</c:v>
                </c:pt>
                <c:pt idx="66">
                  <c:v>06.12.21</c:v>
                </c:pt>
                <c:pt idx="67">
                  <c:v>07.12.21</c:v>
                </c:pt>
                <c:pt idx="68">
                  <c:v>08.12.21</c:v>
                </c:pt>
                <c:pt idx="69">
                  <c:v>09.12.21</c:v>
                </c:pt>
                <c:pt idx="70">
                  <c:v>10.12.21</c:v>
                </c:pt>
                <c:pt idx="71">
                  <c:v>11.12.21</c:v>
                </c:pt>
                <c:pt idx="72">
                  <c:v>12.12.21</c:v>
                </c:pt>
                <c:pt idx="73">
                  <c:v>13.12.21</c:v>
                </c:pt>
                <c:pt idx="74">
                  <c:v>14.12.21</c:v>
                </c:pt>
                <c:pt idx="75">
                  <c:v>15.12.21</c:v>
                </c:pt>
                <c:pt idx="76">
                  <c:v>16.12.21</c:v>
                </c:pt>
                <c:pt idx="77">
                  <c:v>17.12.21</c:v>
                </c:pt>
                <c:pt idx="78">
                  <c:v>18.12.21</c:v>
                </c:pt>
                <c:pt idx="79">
                  <c:v>19.12.21</c:v>
                </c:pt>
                <c:pt idx="80">
                  <c:v>20.12.21</c:v>
                </c:pt>
                <c:pt idx="81">
                  <c:v>21.12.21</c:v>
                </c:pt>
                <c:pt idx="82">
                  <c:v>22.12.21</c:v>
                </c:pt>
                <c:pt idx="83">
                  <c:v>23.12.21</c:v>
                </c:pt>
                <c:pt idx="84">
                  <c:v>24.12.21</c:v>
                </c:pt>
                <c:pt idx="85">
                  <c:v>25.12.21</c:v>
                </c:pt>
                <c:pt idx="86">
                  <c:v>26.12.21</c:v>
                </c:pt>
                <c:pt idx="87">
                  <c:v>27.12.21</c:v>
                </c:pt>
                <c:pt idx="88">
                  <c:v>28.12.21</c:v>
                </c:pt>
                <c:pt idx="89">
                  <c:v>29.12.21</c:v>
                </c:pt>
                <c:pt idx="90">
                  <c:v>30.12.21</c:v>
                </c:pt>
                <c:pt idx="91">
                  <c:v>31.12.21</c:v>
                </c:pt>
                <c:pt idx="92">
                  <c:v>01.01.22</c:v>
                </c:pt>
                <c:pt idx="93">
                  <c:v>02.01.22</c:v>
                </c:pt>
                <c:pt idx="94">
                  <c:v>03.01.22</c:v>
                </c:pt>
                <c:pt idx="95">
                  <c:v>04.01.22</c:v>
                </c:pt>
                <c:pt idx="96">
                  <c:v>05.01.22</c:v>
                </c:pt>
                <c:pt idx="97">
                  <c:v>06.01.22</c:v>
                </c:pt>
                <c:pt idx="98">
                  <c:v>07.01.22</c:v>
                </c:pt>
                <c:pt idx="99">
                  <c:v>08.01.22</c:v>
                </c:pt>
                <c:pt idx="100">
                  <c:v>09.01.22</c:v>
                </c:pt>
                <c:pt idx="101">
                  <c:v>10.01.22</c:v>
                </c:pt>
                <c:pt idx="102">
                  <c:v>11.01.22</c:v>
                </c:pt>
                <c:pt idx="103">
                  <c:v>12.01.22</c:v>
                </c:pt>
                <c:pt idx="104">
                  <c:v>13.01.22</c:v>
                </c:pt>
                <c:pt idx="105">
                  <c:v>14.01.22</c:v>
                </c:pt>
                <c:pt idx="106">
                  <c:v>15.01.22</c:v>
                </c:pt>
                <c:pt idx="107">
                  <c:v>16.01.22</c:v>
                </c:pt>
                <c:pt idx="108">
                  <c:v>17.01.22</c:v>
                </c:pt>
                <c:pt idx="109">
                  <c:v>18.01.22</c:v>
                </c:pt>
                <c:pt idx="110">
                  <c:v>19.01.22</c:v>
                </c:pt>
                <c:pt idx="111">
                  <c:v>20.01.22</c:v>
                </c:pt>
                <c:pt idx="112">
                  <c:v>21.01.22</c:v>
                </c:pt>
                <c:pt idx="113">
                  <c:v>22.01.22</c:v>
                </c:pt>
                <c:pt idx="114">
                  <c:v>23.01.22</c:v>
                </c:pt>
                <c:pt idx="115">
                  <c:v>24.01.22</c:v>
                </c:pt>
                <c:pt idx="116">
                  <c:v>25.01.22</c:v>
                </c:pt>
                <c:pt idx="117">
                  <c:v>26.01.22</c:v>
                </c:pt>
                <c:pt idx="118">
                  <c:v>27.01.22</c:v>
                </c:pt>
                <c:pt idx="119">
                  <c:v>28.01.22</c:v>
                </c:pt>
                <c:pt idx="120">
                  <c:v>29.01.22</c:v>
                </c:pt>
                <c:pt idx="121">
                  <c:v>30.01.22</c:v>
                </c:pt>
                <c:pt idx="122">
                  <c:v>31.01.22</c:v>
                </c:pt>
                <c:pt idx="123">
                  <c:v>01.02.22</c:v>
                </c:pt>
                <c:pt idx="124">
                  <c:v>02.02.22</c:v>
                </c:pt>
                <c:pt idx="125">
                  <c:v>03.02.22</c:v>
                </c:pt>
                <c:pt idx="126">
                  <c:v>04.02.22</c:v>
                </c:pt>
                <c:pt idx="127">
                  <c:v>05.02.22</c:v>
                </c:pt>
                <c:pt idx="128">
                  <c:v>06.02.22</c:v>
                </c:pt>
                <c:pt idx="129">
                  <c:v>07.02.22</c:v>
                </c:pt>
                <c:pt idx="130">
                  <c:v>08.02.22</c:v>
                </c:pt>
                <c:pt idx="131">
                  <c:v>09.02.22</c:v>
                </c:pt>
                <c:pt idx="132">
                  <c:v>10.02.22</c:v>
                </c:pt>
                <c:pt idx="133">
                  <c:v>11.02.22</c:v>
                </c:pt>
                <c:pt idx="134">
                  <c:v>12.02.22</c:v>
                </c:pt>
                <c:pt idx="135">
                  <c:v>13.02.22</c:v>
                </c:pt>
                <c:pt idx="136">
                  <c:v>14.02.22</c:v>
                </c:pt>
                <c:pt idx="137">
                  <c:v>15.02.22</c:v>
                </c:pt>
                <c:pt idx="138">
                  <c:v>16.02.22</c:v>
                </c:pt>
                <c:pt idx="139">
                  <c:v>17.02.22</c:v>
                </c:pt>
                <c:pt idx="140">
                  <c:v>18.02.22</c:v>
                </c:pt>
                <c:pt idx="141">
                  <c:v>19.02.22</c:v>
                </c:pt>
                <c:pt idx="142">
                  <c:v>20.02.22</c:v>
                </c:pt>
                <c:pt idx="143">
                  <c:v>21.02.22</c:v>
                </c:pt>
                <c:pt idx="144">
                  <c:v>22.02.22</c:v>
                </c:pt>
                <c:pt idx="145">
                  <c:v>23.02.22</c:v>
                </c:pt>
                <c:pt idx="146">
                  <c:v>24.02.22</c:v>
                </c:pt>
                <c:pt idx="147">
                  <c:v>25.02.22</c:v>
                </c:pt>
                <c:pt idx="148">
                  <c:v>26.02.22</c:v>
                </c:pt>
                <c:pt idx="149">
                  <c:v>27.02.22</c:v>
                </c:pt>
                <c:pt idx="150">
                  <c:v>28.02.22</c:v>
                </c:pt>
                <c:pt idx="151">
                  <c:v>01.03.22</c:v>
                </c:pt>
                <c:pt idx="152">
                  <c:v>02.03.22</c:v>
                </c:pt>
                <c:pt idx="153">
                  <c:v>03.03.22</c:v>
                </c:pt>
                <c:pt idx="154">
                  <c:v>04.03.22</c:v>
                </c:pt>
                <c:pt idx="155">
                  <c:v>05.03.22</c:v>
                </c:pt>
                <c:pt idx="156">
                  <c:v>06.03.22</c:v>
                </c:pt>
                <c:pt idx="157">
                  <c:v>07.03.22</c:v>
                </c:pt>
                <c:pt idx="158">
                  <c:v>08.03.22</c:v>
                </c:pt>
                <c:pt idx="159">
                  <c:v>09.03.22</c:v>
                </c:pt>
                <c:pt idx="160">
                  <c:v>10.03.22</c:v>
                </c:pt>
                <c:pt idx="161">
                  <c:v>11.03.22</c:v>
                </c:pt>
                <c:pt idx="162">
                  <c:v>12.03.22</c:v>
                </c:pt>
                <c:pt idx="163">
                  <c:v>13.03.22</c:v>
                </c:pt>
                <c:pt idx="164">
                  <c:v>14.03.22</c:v>
                </c:pt>
                <c:pt idx="165">
                  <c:v>15.03.22</c:v>
                </c:pt>
                <c:pt idx="166">
                  <c:v>16.03.22</c:v>
                </c:pt>
                <c:pt idx="167">
                  <c:v>17.03.22</c:v>
                </c:pt>
                <c:pt idx="168">
                  <c:v>18.03.22</c:v>
                </c:pt>
                <c:pt idx="169">
                  <c:v>19.03.22</c:v>
                </c:pt>
                <c:pt idx="170">
                  <c:v>20.03.22</c:v>
                </c:pt>
                <c:pt idx="171">
                  <c:v>21.03.22</c:v>
                </c:pt>
                <c:pt idx="172">
                  <c:v>22.03.22</c:v>
                </c:pt>
                <c:pt idx="173">
                  <c:v>23.03.22</c:v>
                </c:pt>
                <c:pt idx="174">
                  <c:v>24.03.22</c:v>
                </c:pt>
                <c:pt idx="175">
                  <c:v>25.03.22</c:v>
                </c:pt>
                <c:pt idx="176">
                  <c:v>26.03.22</c:v>
                </c:pt>
                <c:pt idx="177">
                  <c:v>27.03.22</c:v>
                </c:pt>
                <c:pt idx="178">
                  <c:v>28.03.22</c:v>
                </c:pt>
                <c:pt idx="179">
                  <c:v>29.03.22</c:v>
                </c:pt>
                <c:pt idx="180">
                  <c:v>30.03.22</c:v>
                </c:pt>
                <c:pt idx="181">
                  <c:v>31.03.22</c:v>
                </c:pt>
                <c:pt idx="182">
                  <c:v>01.04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03</c:v>
                </c:pt>
                <c:pt idx="1">
                  <c:v>205</c:v>
                </c:pt>
                <c:pt idx="2">
                  <c:v>206</c:v>
                </c:pt>
                <c:pt idx="3">
                  <c:v>208</c:v>
                </c:pt>
                <c:pt idx="4">
                  <c:v>210</c:v>
                </c:pt>
                <c:pt idx="5">
                  <c:v>219</c:v>
                </c:pt>
                <c:pt idx="6">
                  <c:v>224</c:v>
                </c:pt>
                <c:pt idx="7">
                  <c:v>230</c:v>
                </c:pt>
                <c:pt idx="8">
                  <c:v>235</c:v>
                </c:pt>
                <c:pt idx="9">
                  <c:v>237</c:v>
                </c:pt>
                <c:pt idx="10">
                  <c:v>247</c:v>
                </c:pt>
                <c:pt idx="11">
                  <c:v>276</c:v>
                </c:pt>
                <c:pt idx="12">
                  <c:v>283</c:v>
                </c:pt>
                <c:pt idx="13">
                  <c:v>291</c:v>
                </c:pt>
                <c:pt idx="14">
                  <c:v>295</c:v>
                </c:pt>
                <c:pt idx="15">
                  <c:v>301</c:v>
                </c:pt>
                <c:pt idx="16">
                  <c:v>305</c:v>
                </c:pt>
                <c:pt idx="17">
                  <c:v>332</c:v>
                </c:pt>
                <c:pt idx="18">
                  <c:v>373</c:v>
                </c:pt>
                <c:pt idx="19">
                  <c:v>408</c:v>
                </c:pt>
                <c:pt idx="20">
                  <c:v>447</c:v>
                </c:pt>
                <c:pt idx="21">
                  <c:v>478</c:v>
                </c:pt>
                <c:pt idx="22">
                  <c:v>501</c:v>
                </c:pt>
                <c:pt idx="23">
                  <c:v>514</c:v>
                </c:pt>
                <c:pt idx="24">
                  <c:v>562</c:v>
                </c:pt>
                <c:pt idx="25">
                  <c:v>617</c:v>
                </c:pt>
                <c:pt idx="26">
                  <c:v>664</c:v>
                </c:pt>
                <c:pt idx="27">
                  <c:v>689</c:v>
                </c:pt>
                <c:pt idx="28">
                  <c:v>753</c:v>
                </c:pt>
                <c:pt idx="29">
                  <c:v>798</c:v>
                </c:pt>
                <c:pt idx="30">
                  <c:v>827</c:v>
                </c:pt>
                <c:pt idx="31">
                  <c:v>900</c:v>
                </c:pt>
                <c:pt idx="32">
                  <c:v>974</c:v>
                </c:pt>
                <c:pt idx="33">
                  <c:v>1036</c:v>
                </c:pt>
                <c:pt idx="34">
                  <c:v>1088</c:v>
                </c:pt>
                <c:pt idx="35">
                  <c:v>1175</c:v>
                </c:pt>
                <c:pt idx="36">
                  <c:v>1203</c:v>
                </c:pt>
                <c:pt idx="37">
                  <c:v>1205</c:v>
                </c:pt>
                <c:pt idx="38">
                  <c:v>1238</c:v>
                </c:pt>
                <c:pt idx="39">
                  <c:v>1305</c:v>
                </c:pt>
                <c:pt idx="40">
                  <c:v>1386</c:v>
                </c:pt>
                <c:pt idx="41">
                  <c:v>1471</c:v>
                </c:pt>
                <c:pt idx="42">
                  <c:v>1536</c:v>
                </c:pt>
                <c:pt idx="43">
                  <c:v>1579</c:v>
                </c:pt>
                <c:pt idx="44">
                  <c:v>1589</c:v>
                </c:pt>
                <c:pt idx="45">
                  <c:v>1576</c:v>
                </c:pt>
                <c:pt idx="46">
                  <c:v>1646</c:v>
                </c:pt>
                <c:pt idx="47">
                  <c:v>1697</c:v>
                </c:pt>
                <c:pt idx="48">
                  <c:v>1743</c:v>
                </c:pt>
                <c:pt idx="49">
                  <c:v>1878</c:v>
                </c:pt>
                <c:pt idx="50">
                  <c:v>1957</c:v>
                </c:pt>
                <c:pt idx="51">
                  <c:v>2001</c:v>
                </c:pt>
                <c:pt idx="52">
                  <c:v>2034</c:v>
                </c:pt>
                <c:pt idx="53">
                  <c:v>2088</c:v>
                </c:pt>
                <c:pt idx="54">
                  <c:v>2128</c:v>
                </c:pt>
                <c:pt idx="55">
                  <c:v>2247</c:v>
                </c:pt>
                <c:pt idx="56">
                  <c:v>2234</c:v>
                </c:pt>
                <c:pt idx="57">
                  <c:v>2283</c:v>
                </c:pt>
                <c:pt idx="58">
                  <c:v>2307</c:v>
                </c:pt>
                <c:pt idx="59">
                  <c:v>2278</c:v>
                </c:pt>
                <c:pt idx="60">
                  <c:v>2268</c:v>
                </c:pt>
                <c:pt idx="61">
                  <c:v>2356</c:v>
                </c:pt>
                <c:pt idx="62">
                  <c:v>2261</c:v>
                </c:pt>
                <c:pt idx="63">
                  <c:v>2196</c:v>
                </c:pt>
                <c:pt idx="64">
                  <c:v>2199</c:v>
                </c:pt>
                <c:pt idx="65">
                  <c:v>2175</c:v>
                </c:pt>
                <c:pt idx="66">
                  <c:v>2091</c:v>
                </c:pt>
                <c:pt idx="67">
                  <c:v>2047</c:v>
                </c:pt>
                <c:pt idx="68">
                  <c:v>1985</c:v>
                </c:pt>
                <c:pt idx="69">
                  <c:v>1918</c:v>
                </c:pt>
                <c:pt idx="70">
                  <c:v>1852</c:v>
                </c:pt>
                <c:pt idx="71">
                  <c:v>1853</c:v>
                </c:pt>
                <c:pt idx="72">
                  <c:v>1828</c:v>
                </c:pt>
                <c:pt idx="73">
                  <c:v>1704</c:v>
                </c:pt>
                <c:pt idx="74">
                  <c:v>1693</c:v>
                </c:pt>
                <c:pt idx="75">
                  <c:v>1657</c:v>
                </c:pt>
                <c:pt idx="76">
                  <c:v>1591</c:v>
                </c:pt>
                <c:pt idx="77">
                  <c:v>1543</c:v>
                </c:pt>
                <c:pt idx="78">
                  <c:v>1539</c:v>
                </c:pt>
                <c:pt idx="79">
                  <c:v>1511</c:v>
                </c:pt>
                <c:pt idx="80">
                  <c:v>1387</c:v>
                </c:pt>
                <c:pt idx="81">
                  <c:v>1329</c:v>
                </c:pt>
                <c:pt idx="82">
                  <c:v>1262</c:v>
                </c:pt>
                <c:pt idx="83">
                  <c:v>1242</c:v>
                </c:pt>
                <c:pt idx="84">
                  <c:v>1157</c:v>
                </c:pt>
                <c:pt idx="85">
                  <c:v>1119</c:v>
                </c:pt>
                <c:pt idx="86">
                  <c:v>1079</c:v>
                </c:pt>
                <c:pt idx="87">
                  <c:v>951</c:v>
                </c:pt>
                <c:pt idx="88">
                  <c:v>947</c:v>
                </c:pt>
                <c:pt idx="89">
                  <c:v>909</c:v>
                </c:pt>
                <c:pt idx="90">
                  <c:v>880</c:v>
                </c:pt>
                <c:pt idx="91">
                  <c:v>867</c:v>
                </c:pt>
                <c:pt idx="92">
                  <c:v>840</c:v>
                </c:pt>
                <c:pt idx="93">
                  <c:v>811</c:v>
                </c:pt>
                <c:pt idx="94">
                  <c:v>778</c:v>
                </c:pt>
                <c:pt idx="95">
                  <c:v>804</c:v>
                </c:pt>
                <c:pt idx="96">
                  <c:v>806</c:v>
                </c:pt>
                <c:pt idx="97">
                  <c:v>835</c:v>
                </c:pt>
                <c:pt idx="98">
                  <c:v>889</c:v>
                </c:pt>
                <c:pt idx="99">
                  <c:v>900</c:v>
                </c:pt>
                <c:pt idx="100">
                  <c:v>895</c:v>
                </c:pt>
                <c:pt idx="101">
                  <c:v>880</c:v>
                </c:pt>
                <c:pt idx="102">
                  <c:v>905</c:v>
                </c:pt>
                <c:pt idx="103">
                  <c:v>938</c:v>
                </c:pt>
                <c:pt idx="104">
                  <c:v>949</c:v>
                </c:pt>
                <c:pt idx="105">
                  <c:v>996</c:v>
                </c:pt>
                <c:pt idx="106">
                  <c:v>1039</c:v>
                </c:pt>
                <c:pt idx="107">
                  <c:v>1054</c:v>
                </c:pt>
                <c:pt idx="108">
                  <c:v>1116</c:v>
                </c:pt>
                <c:pt idx="109">
                  <c:v>1243</c:v>
                </c:pt>
                <c:pt idx="110">
                  <c:v>1389</c:v>
                </c:pt>
                <c:pt idx="111">
                  <c:v>1543</c:v>
                </c:pt>
                <c:pt idx="112">
                  <c:v>1582</c:v>
                </c:pt>
                <c:pt idx="113">
                  <c:v>1620</c:v>
                </c:pt>
                <c:pt idx="114">
                  <c:v>1617</c:v>
                </c:pt>
                <c:pt idx="115">
                  <c:v>1715</c:v>
                </c:pt>
                <c:pt idx="116">
                  <c:v>1979</c:v>
                </c:pt>
                <c:pt idx="117">
                  <c:v>2317</c:v>
                </c:pt>
                <c:pt idx="118">
                  <c:v>2390</c:v>
                </c:pt>
                <c:pt idx="119">
                  <c:v>2613</c:v>
                </c:pt>
                <c:pt idx="120">
                  <c:v>2525</c:v>
                </c:pt>
                <c:pt idx="121">
                  <c:v>2513</c:v>
                </c:pt>
                <c:pt idx="122">
                  <c:v>2637</c:v>
                </c:pt>
                <c:pt idx="123">
                  <c:v>3008</c:v>
                </c:pt>
                <c:pt idx="124">
                  <c:v>3216</c:v>
                </c:pt>
                <c:pt idx="125">
                  <c:v>3190</c:v>
                </c:pt>
                <c:pt idx="126">
                  <c:v>3121</c:v>
                </c:pt>
                <c:pt idx="127">
                  <c:v>2962</c:v>
                </c:pt>
                <c:pt idx="128">
                  <c:v>2726</c:v>
                </c:pt>
                <c:pt idx="129">
                  <c:v>2820</c:v>
                </c:pt>
                <c:pt idx="130">
                  <c:v>3040</c:v>
                </c:pt>
                <c:pt idx="131">
                  <c:v>3199</c:v>
                </c:pt>
                <c:pt idx="132">
                  <c:v>2908</c:v>
                </c:pt>
                <c:pt idx="133">
                  <c:v>2727</c:v>
                </c:pt>
                <c:pt idx="134">
                  <c:v>2493</c:v>
                </c:pt>
                <c:pt idx="135">
                  <c:v>2259</c:v>
                </c:pt>
                <c:pt idx="136">
                  <c:v>2222</c:v>
                </c:pt>
                <c:pt idx="137">
                  <c:v>2366</c:v>
                </c:pt>
                <c:pt idx="138">
                  <c:v>2383</c:v>
                </c:pt>
                <c:pt idx="139">
                  <c:v>2052</c:v>
                </c:pt>
                <c:pt idx="140">
                  <c:v>1882</c:v>
                </c:pt>
                <c:pt idx="141">
                  <c:v>1698</c:v>
                </c:pt>
                <c:pt idx="142">
                  <c:v>1512</c:v>
                </c:pt>
                <c:pt idx="143">
                  <c:v>1473</c:v>
                </c:pt>
                <c:pt idx="144">
                  <c:v>1516</c:v>
                </c:pt>
                <c:pt idx="145">
                  <c:v>1533</c:v>
                </c:pt>
                <c:pt idx="146">
                  <c:v>1337</c:v>
                </c:pt>
                <c:pt idx="147">
                  <c:v>1245</c:v>
                </c:pt>
                <c:pt idx="148">
                  <c:v>1137</c:v>
                </c:pt>
                <c:pt idx="149">
                  <c:v>1033</c:v>
                </c:pt>
                <c:pt idx="150">
                  <c:v>1046</c:v>
                </c:pt>
                <c:pt idx="151">
                  <c:v>1117</c:v>
                </c:pt>
                <c:pt idx="152">
                  <c:v>1167</c:v>
                </c:pt>
                <c:pt idx="153">
                  <c:v>1040</c:v>
                </c:pt>
                <c:pt idx="154">
                  <c:v>993</c:v>
                </c:pt>
                <c:pt idx="155">
                  <c:v>934</c:v>
                </c:pt>
                <c:pt idx="156">
                  <c:v>841</c:v>
                </c:pt>
                <c:pt idx="157">
                  <c:v>906</c:v>
                </c:pt>
                <c:pt idx="158">
                  <c:v>979</c:v>
                </c:pt>
                <c:pt idx="159">
                  <c:v>1058</c:v>
                </c:pt>
                <c:pt idx="160">
                  <c:v>956</c:v>
                </c:pt>
                <c:pt idx="161">
                  <c:v>936</c:v>
                </c:pt>
                <c:pt idx="162">
                  <c:v>879</c:v>
                </c:pt>
                <c:pt idx="163">
                  <c:v>820</c:v>
                </c:pt>
                <c:pt idx="164">
                  <c:v>898</c:v>
                </c:pt>
                <c:pt idx="165">
                  <c:v>969</c:v>
                </c:pt>
                <c:pt idx="166">
                  <c:v>1032</c:v>
                </c:pt>
                <c:pt idx="167">
                  <c:v>942</c:v>
                </c:pt>
                <c:pt idx="168">
                  <c:v>950</c:v>
                </c:pt>
                <c:pt idx="169">
                  <c:v>878</c:v>
                </c:pt>
                <c:pt idx="170">
                  <c:v>808</c:v>
                </c:pt>
                <c:pt idx="171">
                  <c:v>879</c:v>
                </c:pt>
                <c:pt idx="172">
                  <c:v>952</c:v>
                </c:pt>
                <c:pt idx="173">
                  <c:v>1003</c:v>
                </c:pt>
                <c:pt idx="174">
                  <c:v>916</c:v>
                </c:pt>
                <c:pt idx="175">
                  <c:v>878</c:v>
                </c:pt>
                <c:pt idx="176">
                  <c:v>815</c:v>
                </c:pt>
                <c:pt idx="177">
                  <c:v>751</c:v>
                </c:pt>
                <c:pt idx="178">
                  <c:v>780</c:v>
                </c:pt>
                <c:pt idx="179">
                  <c:v>862</c:v>
                </c:pt>
                <c:pt idx="180">
                  <c:v>891</c:v>
                </c:pt>
                <c:pt idx="181">
                  <c:v>794</c:v>
                </c:pt>
                <c:pt idx="182">
                  <c:v>7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2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notesSlide" Target="../notesSlides/notesSlide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notesSlide" Target="../notesSlides/notesSlide23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notesSlide" Target="../notesSlides/notesSlide24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chart" Target="../charts/char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4" Type="http://schemas.openxmlformats.org/officeDocument/2006/relationships/chart" Target="../charts/char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4025185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4676347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6429248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140813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5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1. 4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4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. 4. 2022</a:t>
            </a:r>
          </a:p>
        </p:txBody>
      </p:sp>
    </p:spTree>
    <p:extLst>
      <p:ext uri="{BB962C8B-B14F-4D97-AF65-F5344CB8AC3E}">
        <p14:creationId xmlns:p14="http://schemas.microsoft.com/office/powerpoint/2010/main" val="31028216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4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. 4. 2022</a:t>
            </a:r>
          </a:p>
        </p:txBody>
      </p:sp>
    </p:spTree>
    <p:extLst>
      <p:ext uri="{BB962C8B-B14F-4D97-AF65-F5344CB8AC3E}">
        <p14:creationId xmlns:p14="http://schemas.microsoft.com/office/powerpoint/2010/main" val="41387154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4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. 4. 2022</a:t>
            </a:r>
          </a:p>
        </p:txBody>
      </p:sp>
    </p:spTree>
    <p:extLst>
      <p:ext uri="{BB962C8B-B14F-4D97-AF65-F5344CB8AC3E}">
        <p14:creationId xmlns:p14="http://schemas.microsoft.com/office/powerpoint/2010/main" val="3130275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. 4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7683040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5DDF421-5C27-4BF3-BEBF-B83961865B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873338"/>
              </p:ext>
            </p:extLst>
          </p:nvPr>
        </p:nvGraphicFramePr>
        <p:xfrm>
          <a:off x="1943095" y="1600986"/>
          <a:ext cx="9946013" cy="45457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15782791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47359944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987551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08493879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0618454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12967948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15940426"/>
                    </a:ext>
                  </a:extLst>
                </a:gridCol>
              </a:tblGrid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039039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46382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639062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37905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06560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526694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147979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4604703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563198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15185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870794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422443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1911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3012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24037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. 4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0073724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5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3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0 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0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 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 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 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8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5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5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7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1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67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5 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8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25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36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4A2C78B-7E52-4AA6-B37A-62B6C2E5E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139587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0061823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50507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265998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64176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11829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212980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84350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174860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019949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2080205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330026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920758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6317966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529022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01701498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2461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55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08377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4220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31021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2909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2962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3803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8342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14616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76659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48851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80116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. 4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1472683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6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6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A0E17-AC87-4A06-8BFF-D4626ED2DB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208206"/>
              </p:ext>
            </p:extLst>
          </p:nvPr>
        </p:nvGraphicFramePr>
        <p:xfrm>
          <a:off x="2419349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69778846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998593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176580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247814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67275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286369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5494788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499073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8017931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12030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897533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295897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17965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68737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5662098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3563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64600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0356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8013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31478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0937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4308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1895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7008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3599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0615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9597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47352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. 4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18884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7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6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9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1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2482748-7777-4FEF-A872-F35246E60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529732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7172454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385517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149719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654138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082239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207911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0333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45640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435645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202364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744524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445600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496860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856891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02258274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4296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85959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3330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86566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34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81962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393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0014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3756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06810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3131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43025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37590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. 4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992536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6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2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1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2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. 4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9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2 (6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4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 (14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8128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91070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8128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3751224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18618917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. 4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63612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630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59035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048826" y="532965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3.–1. 4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A8022CBC-D159-43ED-88A5-C2E189C652F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263694" y="4835215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E8E78DBD-D86B-4734-91D4-7BF6086B0B0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731945" y="4834111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D96BC20D-D9FC-44E8-87BD-189B03DF8C6E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8443882" y="3589127"/>
            <a:ext cx="671543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AF21ED1B-6D39-4000-9336-093B41A73553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9565648" y="3589127"/>
            <a:ext cx="1218557" cy="1335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4">
            <a:extLst>
              <a:ext uri="{FF2B5EF4-FFF2-40B4-BE49-F238E27FC236}">
                <a16:creationId xmlns:a16="http://schemas.microsoft.com/office/drawing/2014/main" id="{EBC8B2C2-A9DA-424A-A1E3-05EFD0D032E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0" y="2868423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500394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3.–1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.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.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6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.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046AC913-285E-43C7-9830-6F52A7C50C1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197019" y="4835215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10E8EC1F-D2BE-45EB-A4AA-6CA7FFE6A75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665270" y="4834111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79F3BED2-F583-4C50-98DD-E645FE512A2E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8377207" y="3589127"/>
            <a:ext cx="671543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B628F55A-C16F-40CC-98F9-8A70A2C2378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9498973" y="3589127"/>
            <a:ext cx="1218557" cy="1335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048826" y="563884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3.–1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.6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9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E4C8B3FC-869A-459B-A6C1-33CCB2E4D06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349419" y="4616140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8E92F2B0-B525-4357-B405-FCEBAB34AD1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817670" y="4615036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3D98DEF0-B560-4B8C-A5BE-154FC5DB765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8529607" y="3248025"/>
            <a:ext cx="633443" cy="16690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D23097E5-F0EB-487D-B765-D6345A311706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9937116" y="3429000"/>
            <a:ext cx="932814" cy="1276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8 % (jen ZP skutečně aktivní ve zdravotnictví). Roste i proočkovanost posilující dávkou. Z pracovníků, kteří na ni mají (časově) nárok, ji dosud absolvovalo 88,5 % lékařů, 79,2 % sester a 75,3 % ostatních NLZP (celkem 79,9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59943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3.–1. 4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.5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.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.9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18F29D03-C1F4-446C-A2D6-965C26A29C5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311319" y="4835215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D613A127-FB4F-42EE-B447-DDFD3E2FDFF1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779570" y="4834111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3FB184B6-5941-400D-BA0C-D70AF38676FB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8491507" y="3589127"/>
            <a:ext cx="671543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3FEC1821-122A-4EDF-A781-70504A8F8580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9810750" y="3514725"/>
            <a:ext cx="1021080" cy="14103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3F4FB197-CCE6-4745-BF30-93C666F68BB5}"/>
              </a:ext>
            </a:extLst>
          </p:cNvPr>
          <p:cNvGraphicFramePr>
            <a:graphicFrameLocks noGrp="1"/>
          </p:cNvGraphicFramePr>
          <p:nvPr/>
        </p:nvGraphicFramePr>
        <p:xfrm>
          <a:off x="2342393" y="2260656"/>
          <a:ext cx="9276168" cy="3609990"/>
        </p:xfrm>
        <a:graphic>
          <a:graphicData uri="http://schemas.openxmlformats.org/drawingml/2006/table">
            <a:tbl>
              <a:tblPr/>
              <a:tblGrid>
                <a:gridCol w="773014">
                  <a:extLst>
                    <a:ext uri="{9D8B030D-6E8A-4147-A177-3AD203B41FA5}">
                      <a16:colId xmlns:a16="http://schemas.microsoft.com/office/drawing/2014/main" val="689962225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480794706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609874968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76875868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09818860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64547923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191513632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155771856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639840348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923666990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4033490044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779124849"/>
                    </a:ext>
                  </a:extLst>
                </a:gridCol>
              </a:tblGrid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D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1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607327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3661416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519251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5638041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076571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116934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9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037589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5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666068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770066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A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F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3178211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329042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743933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6331789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504683"/>
                  </a:ext>
                </a:extLst>
              </a:tr>
              <a:tr h="240666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4016324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. 4. 2022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76C8638-5C6C-43F9-BC9E-B480F49C7030}"/>
              </a:ext>
            </a:extLst>
          </p:cNvPr>
          <p:cNvGraphicFramePr>
            <a:graphicFrameLocks noGrp="1"/>
          </p:cNvGraphicFramePr>
          <p:nvPr/>
        </p:nvGraphicFramePr>
        <p:xfrm>
          <a:off x="3787220" y="1996276"/>
          <a:ext cx="7347932" cy="3996645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1002669044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2679488625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2286849292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1238802676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13041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350828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468972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49543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261461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51613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63328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52930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35756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01115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222407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337086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358824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035749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2531786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9 / 9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89 / 10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6 / -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 (184 / 19 / 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8 / 6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32 / 6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6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56 / 12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6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7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34 / 6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9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1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53 / 6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6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9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7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5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9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41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1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5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3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2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0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5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- / 7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 / 9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6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24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37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8 / 6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49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8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 (95 / 9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0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4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8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52 / 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4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5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6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5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7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9 / 7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8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4 / 11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139 / 53 / 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 (369 / 44 / 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 (221 / - / 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4 (729 / 97 / 7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26. 3. – 1. 4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. 4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175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1482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18366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3804559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2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5 2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. 4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. 4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196436"/>
              </p:ext>
            </p:extLst>
          </p:nvPr>
        </p:nvGraphicFramePr>
        <p:xfrm>
          <a:off x="356587" y="1390934"/>
          <a:ext cx="11130563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1546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4729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018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018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6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2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3786745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1. 4. 2022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3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7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 5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 0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3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8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16738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. 4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/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3 (8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372 (75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35 (1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4 (3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6 (8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426 (84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153 (6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687 (2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6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85 (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85 (6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62 (8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556 (5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97 (23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9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25 (1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00 (8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5 (7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73 (56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6 (22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2 (1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6 (9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 (8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2 (54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0 (25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 (1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 (7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00 (82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1 (5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9 (24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7 (1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9 (7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3 (8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9 (6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3 (19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 (7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(5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9 (7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8 (5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 (24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4 (12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4 (10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53 (82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42 (5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1 (24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0 (1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9 (6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6 (8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84 (5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3 (24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8 (1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3 (8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671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7 081 (62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1 319 (2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271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 014 (8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 391 (7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. 4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517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  <p:tag name="SLIDEFAB_RESIZEMOD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94</TotalTime>
  <Words>9181</Words>
  <Application>Microsoft Office PowerPoint</Application>
  <PresentationFormat>Širokoúhlá obrazovka</PresentationFormat>
  <Paragraphs>2037</Paragraphs>
  <Slides>35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35</vt:i4>
      </vt:variant>
    </vt:vector>
  </HeadingPairs>
  <TitlesOfParts>
    <vt:vector size="41" baseType="lpstr">
      <vt:lpstr>Calibri</vt:lpstr>
      <vt:lpstr>Arial</vt:lpstr>
      <vt:lpstr>Calibri Light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4/2022</vt:lpstr>
      <vt:lpstr>Přehled povolání u COVID-19 pozitivních ostatních zdravotnických pracovníků za období 10/2021 – 04/2022</vt:lpstr>
      <vt:lpstr>Přehled povolání u COVID-19 pozitivních ostatních zdravotnických pracovníků za období 01-04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81</cp:revision>
  <dcterms:created xsi:type="dcterms:W3CDTF">2020-11-11T17:36:28Z</dcterms:created>
  <dcterms:modified xsi:type="dcterms:W3CDTF">2022-04-03T17:09:16Z</dcterms:modified>
</cp:coreProperties>
</file>